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7"/>
  </p:notesMasterIdLst>
  <p:sldIdLst>
    <p:sldId id="287" r:id="rId3"/>
    <p:sldId id="280" r:id="rId4"/>
    <p:sldId id="281" r:id="rId5"/>
    <p:sldId id="288" r:id="rId6"/>
    <p:sldId id="264" r:id="rId7"/>
    <p:sldId id="272" r:id="rId8"/>
    <p:sldId id="282" r:id="rId9"/>
    <p:sldId id="276" r:id="rId10"/>
    <p:sldId id="266" r:id="rId11"/>
    <p:sldId id="267" r:id="rId12"/>
    <p:sldId id="289" r:id="rId13"/>
    <p:sldId id="290" r:id="rId14"/>
    <p:sldId id="274" r:id="rId15"/>
    <p:sldId id="279" r:id="rId16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9CEA"/>
    <a:srgbClr val="033782"/>
    <a:srgbClr val="5B9BD5"/>
    <a:srgbClr val="0777D9"/>
    <a:srgbClr val="00469C"/>
    <a:srgbClr val="0877D7"/>
    <a:srgbClr val="0B70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03" autoAdjust="0"/>
    <p:restoredTop sz="93719" autoAdjust="0"/>
  </p:normalViewPr>
  <p:slideViewPr>
    <p:cSldViewPr snapToGrid="0">
      <p:cViewPr>
        <p:scale>
          <a:sx n="50" d="100"/>
          <a:sy n="50" d="100"/>
        </p:scale>
        <p:origin x="2045" y="6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1" Type="http://schemas.openxmlformats.org/officeDocument/2006/relationships/tags" Target="tags/tag6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5C52B9-287B-495A-870E-65DAF96EDA9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7FBC31-86AB-4939-AE74-413AB12E9D2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2474F-A3E7-4B46-B2E2-1FD4E918CDCC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4424D-7043-4BE7-AFBD-7E4353B4A7E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59543" y="3884725"/>
            <a:ext cx="5341257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73099" y="1028700"/>
            <a:ext cx="5727701" cy="253056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055732"/>
            <a:ext cx="57277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352003"/>
            <a:ext cx="57277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ļîďè"/>
          <p:cNvSpPr/>
          <p:nvPr userDrawn="1"/>
        </p:nvSpPr>
        <p:spPr>
          <a:xfrm>
            <a:off x="0" y="0"/>
            <a:ext cx="755904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r="-3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ïṧlîďe"/>
          <p:cNvSpPr/>
          <p:nvPr userDrawn="1"/>
        </p:nvSpPr>
        <p:spPr>
          <a:xfrm>
            <a:off x="3425880" y="-6495"/>
            <a:ext cx="8766121" cy="6864495"/>
          </a:xfrm>
          <a:custGeom>
            <a:avLst/>
            <a:gdLst>
              <a:gd name="connsiteX0" fmla="*/ 2441430 w 8766121"/>
              <a:gd name="connsiteY0" fmla="*/ 4070865 h 6864495"/>
              <a:gd name="connsiteX1" fmla="*/ 2433469 w 8766121"/>
              <a:gd name="connsiteY1" fmla="*/ 4081338 h 6864495"/>
              <a:gd name="connsiteX2" fmla="*/ 2425028 w 8766121"/>
              <a:gd name="connsiteY2" fmla="*/ 4094030 h 6864495"/>
              <a:gd name="connsiteX3" fmla="*/ 4150578 w 8766121"/>
              <a:gd name="connsiteY3" fmla="*/ 0 h 6864495"/>
              <a:gd name="connsiteX4" fmla="*/ 5440530 w 8766121"/>
              <a:gd name="connsiteY4" fmla="*/ 0 h 6864495"/>
              <a:gd name="connsiteX5" fmla="*/ 8766121 w 8766121"/>
              <a:gd name="connsiteY5" fmla="*/ 0 h 6864495"/>
              <a:gd name="connsiteX6" fmla="*/ 8766121 w 8766121"/>
              <a:gd name="connsiteY6" fmla="*/ 6864495 h 6864495"/>
              <a:gd name="connsiteX7" fmla="*/ 0 w 8766121"/>
              <a:gd name="connsiteY7" fmla="*/ 6864495 h 6864495"/>
              <a:gd name="connsiteX8" fmla="*/ 58317 w 8766121"/>
              <a:gd name="connsiteY8" fmla="*/ 6694948 h 6864495"/>
              <a:gd name="connsiteX9" fmla="*/ 1524552 w 8766121"/>
              <a:gd name="connsiteY9" fmla="*/ 4389202 h 6864495"/>
              <a:gd name="connsiteX10" fmla="*/ 4096598 w 8766121"/>
              <a:gd name="connsiteY10" fmla="*/ 1 h 6864495"/>
              <a:gd name="connsiteX11" fmla="*/ 4150578 w 8766121"/>
              <a:gd name="connsiteY11" fmla="*/ 1 h 686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66121" h="6864495">
                <a:moveTo>
                  <a:pt x="2441430" y="4070865"/>
                </a:moveTo>
                <a:lnTo>
                  <a:pt x="2433469" y="4081338"/>
                </a:lnTo>
                <a:lnTo>
                  <a:pt x="2425028" y="4094030"/>
                </a:lnTo>
                <a:close/>
                <a:moveTo>
                  <a:pt x="4150578" y="0"/>
                </a:moveTo>
                <a:lnTo>
                  <a:pt x="5440530" y="0"/>
                </a:lnTo>
                <a:lnTo>
                  <a:pt x="8766121" y="0"/>
                </a:lnTo>
                <a:lnTo>
                  <a:pt x="8766121" y="6864495"/>
                </a:lnTo>
                <a:lnTo>
                  <a:pt x="0" y="6864495"/>
                </a:lnTo>
                <a:lnTo>
                  <a:pt x="58317" y="6694948"/>
                </a:lnTo>
                <a:cubicBezTo>
                  <a:pt x="580699" y="5295965"/>
                  <a:pt x="1524552" y="4389202"/>
                  <a:pt x="1524552" y="4389202"/>
                </a:cubicBezTo>
                <a:cubicBezTo>
                  <a:pt x="3421004" y="2537250"/>
                  <a:pt x="3999536" y="1042755"/>
                  <a:pt x="4096598" y="1"/>
                </a:cubicBezTo>
                <a:lnTo>
                  <a:pt x="4150578" y="1"/>
                </a:lnTo>
                <a:close/>
              </a:path>
            </a:pathLst>
          </a:custGeom>
          <a:solidFill>
            <a:schemeClr val="bg1"/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4876800" y="1669144"/>
            <a:ext cx="6642098" cy="222249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6800" y="4576362"/>
            <a:ext cx="66420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3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2" y="4280091"/>
            <a:ext cx="66420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7" name="íṩḷïḋê"/>
          <p:cNvSpPr/>
          <p:nvPr userDrawn="1"/>
        </p:nvSpPr>
        <p:spPr>
          <a:xfrm>
            <a:off x="3269875" y="-6494"/>
            <a:ext cx="4807392" cy="6864494"/>
          </a:xfrm>
          <a:custGeom>
            <a:avLst/>
            <a:gdLst>
              <a:gd name="connsiteX0" fmla="*/ 1137871 w 4807391"/>
              <a:gd name="connsiteY0" fmla="*/ 6808035 h 6799808"/>
              <a:gd name="connsiteX1" fmla="*/ 2192207 w 4807391"/>
              <a:gd name="connsiteY1" fmla="*/ 4367050 h 6799808"/>
              <a:gd name="connsiteX2" fmla="*/ 4814338 w 4807391"/>
              <a:gd name="connsiteY2" fmla="*/ 0 h 6799808"/>
              <a:gd name="connsiteX3" fmla="*/ 4136733 w 4807391"/>
              <a:gd name="connsiteY3" fmla="*/ 0 h 6799808"/>
              <a:gd name="connsiteX4" fmla="*/ 1564687 w 4807391"/>
              <a:gd name="connsiteY4" fmla="*/ 4280224 h 6799808"/>
              <a:gd name="connsiteX5" fmla="*/ 0 w 4807391"/>
              <a:gd name="connsiteY5" fmla="*/ 6807852 h 6799808"/>
              <a:gd name="connsiteX6" fmla="*/ 1137871 w 4807391"/>
              <a:gd name="connsiteY6" fmla="*/ 6807852 h 679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7391" h="6799808">
                <a:moveTo>
                  <a:pt x="1137871" y="6808035"/>
                </a:moveTo>
                <a:cubicBezTo>
                  <a:pt x="1326328" y="6074679"/>
                  <a:pt x="1649136" y="5237681"/>
                  <a:pt x="2192207" y="4367050"/>
                </a:cubicBezTo>
                <a:cubicBezTo>
                  <a:pt x="3071795" y="2957551"/>
                  <a:pt x="4306546" y="1531968"/>
                  <a:pt x="4814338" y="0"/>
                </a:cubicBezTo>
                <a:lnTo>
                  <a:pt x="4136733" y="0"/>
                </a:lnTo>
                <a:cubicBezTo>
                  <a:pt x="4039671" y="1016864"/>
                  <a:pt x="3461139" y="2474253"/>
                  <a:pt x="1564687" y="4280224"/>
                </a:cubicBezTo>
                <a:cubicBezTo>
                  <a:pt x="1564687" y="4280224"/>
                  <a:pt x="490793" y="5286304"/>
                  <a:pt x="0" y="6807852"/>
                </a:cubicBezTo>
                <a:lnTo>
                  <a:pt x="1137871" y="6807852"/>
                </a:lnTo>
                <a:close/>
              </a:path>
            </a:pathLst>
          </a:custGeom>
          <a:solidFill>
            <a:srgbClr val="149CEA">
              <a:alpha val="99000"/>
            </a:srgbClr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ïšḷiḑe"/>
          <p:cNvSpPr/>
          <p:nvPr userDrawn="1"/>
        </p:nvSpPr>
        <p:spPr>
          <a:xfrm>
            <a:off x="3884234" y="-6494"/>
            <a:ext cx="4423531" cy="6864494"/>
          </a:xfrm>
          <a:custGeom>
            <a:avLst/>
            <a:gdLst>
              <a:gd name="connsiteX0" fmla="*/ 868804 w 4423531"/>
              <a:gd name="connsiteY0" fmla="*/ 6841485 h 6836367"/>
              <a:gd name="connsiteX1" fmla="*/ 2088199 w 4423531"/>
              <a:gd name="connsiteY1" fmla="*/ 3706079 h 6836367"/>
              <a:gd name="connsiteX2" fmla="*/ 4436875 w 4423531"/>
              <a:gd name="connsiteY2" fmla="*/ 0 h 6836367"/>
              <a:gd name="connsiteX3" fmla="*/ 3756163 w 4423531"/>
              <a:gd name="connsiteY3" fmla="*/ 0 h 6836367"/>
              <a:gd name="connsiteX4" fmla="*/ 1797745 w 4423531"/>
              <a:gd name="connsiteY4" fmla="*/ 3610296 h 6836367"/>
              <a:gd name="connsiteX5" fmla="*/ 0 w 4423531"/>
              <a:gd name="connsiteY5" fmla="*/ 6841485 h 6836367"/>
              <a:gd name="connsiteX6" fmla="*/ 868804 w 4423531"/>
              <a:gd name="connsiteY6" fmla="*/ 6841485 h 6836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23531" h="6836367">
                <a:moveTo>
                  <a:pt x="868804" y="6841485"/>
                </a:moveTo>
                <a:cubicBezTo>
                  <a:pt x="868804" y="6841485"/>
                  <a:pt x="781978" y="5284475"/>
                  <a:pt x="2088199" y="3706079"/>
                </a:cubicBezTo>
                <a:cubicBezTo>
                  <a:pt x="3033409" y="2563820"/>
                  <a:pt x="4413844" y="1460131"/>
                  <a:pt x="4436875" y="0"/>
                </a:cubicBezTo>
                <a:lnTo>
                  <a:pt x="3756163" y="0"/>
                </a:lnTo>
                <a:cubicBezTo>
                  <a:pt x="3756163" y="0"/>
                  <a:pt x="3783582" y="1500893"/>
                  <a:pt x="1797745" y="3610296"/>
                </a:cubicBezTo>
                <a:cubicBezTo>
                  <a:pt x="1797745" y="3610296"/>
                  <a:pt x="274186" y="5245541"/>
                  <a:pt x="0" y="6841485"/>
                </a:cubicBezTo>
                <a:lnTo>
                  <a:pt x="868804" y="6841485"/>
                </a:lnTo>
                <a:close/>
              </a:path>
            </a:pathLst>
          </a:custGeom>
          <a:solidFill>
            <a:srgbClr val="0777D9"/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647700"/>
            <a:ext cx="2225675" cy="388937"/>
          </a:xfrm>
        </p:spPr>
        <p:txBody>
          <a:bodyPr wrap="none" lIns="0" tIns="45720" rIns="91440" bIns="45720" anchor="ctr">
            <a:noAutofit/>
          </a:bodyPr>
          <a:lstStyle>
            <a:lvl1pPr marL="0" indent="0">
              <a:buNone/>
              <a:defRPr sz="3200" b="1">
                <a:solidFill>
                  <a:srgbClr val="0777D9"/>
                </a:solidFill>
              </a:defRPr>
            </a:lvl1pPr>
          </a:lstStyle>
          <a:p>
            <a:pPr lvl="0"/>
            <a:r>
              <a:rPr lang="zh-CN" altLang="en-US" smtClean="0"/>
              <a:t>蚕丝是什么</a:t>
            </a:r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0" y="640080"/>
            <a:ext cx="533400" cy="388620"/>
          </a:xfrm>
          <a:prstGeom prst="rect">
            <a:avLst/>
          </a:prstGeom>
          <a:solidFill>
            <a:srgbClr val="0777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  <a:cs typeface="+mn-ea"/>
              <a:sym typeface="思源黑体" panose="020B0500000000000000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2474F-A3E7-4B46-B2E2-1FD4E918CDC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4424D-7043-4BE7-AFBD-7E4353B4A7E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与副标题">
    <p:bg>
      <p:bgPr>
        <a:solidFill>
          <a:srgbClr val="2A24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875" y="346367"/>
            <a:ext cx="3426377" cy="535531"/>
          </a:xfrm>
          <a:prstGeom prst="rect">
            <a:avLst/>
          </a:prstGeom>
        </p:spPr>
        <p:txBody>
          <a:bodyPr wrap="square" lIns="0" tIns="45720" rIns="0" bIns="45720">
            <a:spAutoFit/>
          </a:bodyPr>
          <a:lstStyle>
            <a:lvl1pPr marL="0" indent="0">
              <a:buNone/>
              <a:defRPr lang="zh-CN" altLang="en-US" sz="3200" b="1">
                <a:gradFill>
                  <a:gsLst>
                    <a:gs pos="100000">
                      <a:srgbClr val="F4DB86">
                        <a:lumMod val="58000"/>
                        <a:lumOff val="42000"/>
                      </a:srgbClr>
                    </a:gs>
                    <a:gs pos="0">
                      <a:srgbClr val="B98D3A"/>
                    </a:gs>
                  </a:gsLst>
                  <a:lin ang="13500000" scaled="1"/>
                </a:gradFill>
                <a:latin typeface="Times New Roman" panose="02020603050405020304" pitchFamily="18" charset="0"/>
              </a:defRPr>
            </a:lvl1pPr>
          </a:lstStyle>
          <a:p>
            <a:pPr marL="0" lvl="0" algn="just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274320" y="0"/>
            <a:ext cx="386080" cy="1028700"/>
          </a:xfrm>
          <a:prstGeom prst="rect">
            <a:avLst/>
          </a:prstGeom>
          <a:gradFill>
            <a:gsLst>
              <a:gs pos="0">
                <a:srgbClr val="F4DB86"/>
              </a:gs>
              <a:gs pos="100000">
                <a:srgbClr val="B98D3A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777873" y="847250"/>
            <a:ext cx="3643655" cy="237757"/>
          </a:xfrm>
          <a:prstGeom prst="rect">
            <a:avLst/>
          </a:prstGeom>
        </p:spPr>
        <p:txBody>
          <a:bodyPr wrap="square" lIns="0" tIns="45720" rIns="0" bIns="45720">
            <a:spAutoFit/>
          </a:bodyPr>
          <a:lstStyle>
            <a:lvl1pPr marL="0" indent="0">
              <a:buNone/>
              <a:defRPr lang="zh-CN" altLang="en-US" sz="1050" spc="300">
                <a:solidFill>
                  <a:schemeClr val="bg1"/>
                </a:solidFill>
                <a:latin typeface="+mn-ea"/>
                <a:cs typeface="+mn-ea"/>
              </a:defRPr>
            </a:lvl1pPr>
          </a:lstStyle>
          <a:p>
            <a:pPr marL="228600" lvl="0" indent="-228600" algn="just"/>
            <a:r>
              <a:rPr lang="en-US" altLang="zh-CN" sz="10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EX INVESTMENT</a:t>
            </a:r>
            <a:r>
              <a:rPr lang="zh-CN" altLang="en-US" sz="10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，</a:t>
            </a:r>
            <a:r>
              <a:rPr lang="en-US" altLang="zh-CN" sz="10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ING YOU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邦成 LOGO档案.png" descr="邦成 LOGO档案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76534" y="241372"/>
            <a:ext cx="1581458" cy="888928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11"/>
          <p:cNvSpPr/>
          <p:nvPr userDrawn="1"/>
        </p:nvSpPr>
        <p:spPr>
          <a:xfrm rot="2700000">
            <a:off x="618004" y="-762961"/>
            <a:ext cx="534863" cy="1898377"/>
          </a:xfrm>
          <a:prstGeom prst="roundRect">
            <a:avLst>
              <a:gd name="adj" fmla="val 50000"/>
            </a:avLst>
          </a:prstGeom>
          <a:solidFill>
            <a:srgbClr val="61D7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14"/>
          <p:cNvSpPr/>
          <p:nvPr userDrawn="1"/>
        </p:nvSpPr>
        <p:spPr>
          <a:xfrm rot="2700000">
            <a:off x="1144040" y="-747600"/>
            <a:ext cx="534863" cy="1652959"/>
          </a:xfrm>
          <a:prstGeom prst="roundRect">
            <a:avLst>
              <a:gd name="adj" fmla="val 50000"/>
            </a:avLst>
          </a:prstGeom>
          <a:solidFill>
            <a:srgbClr val="00A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17"/>
          <p:cNvSpPr/>
          <p:nvPr userDrawn="1"/>
        </p:nvSpPr>
        <p:spPr>
          <a:xfrm rot="2700000">
            <a:off x="103700" y="-661477"/>
            <a:ext cx="534863" cy="106488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640994" y="199664"/>
            <a:ext cx="2780374" cy="923330"/>
          </a:xfrm>
        </p:spPr>
        <p:txBody>
          <a:bodyPr wrap="square" anchor="ctr">
            <a:spAutoFit/>
          </a:bodyPr>
          <a:lstStyle>
            <a:lvl1pPr marL="0" indent="0">
              <a:buNone/>
              <a:defRPr lang="zh-CN" altLang="en-US" sz="3600" b="1">
                <a:gradFill>
                  <a:gsLst>
                    <a:gs pos="0">
                      <a:srgbClr val="00AF64"/>
                    </a:gs>
                    <a:gs pos="100000">
                      <a:srgbClr val="FF4900"/>
                    </a:gs>
                  </a:gsLst>
                  <a:lin ang="0" scaled="1"/>
                </a:gradFill>
                <a:latin typeface="Times New Roman" panose="02020603050405020304" pitchFamily="18" charset="0"/>
                <a:cs typeface="+mn-ea"/>
              </a:defRPr>
            </a:lvl1pPr>
          </a:lstStyle>
          <a:p>
            <a:pPr lvl="0" algn="just">
              <a:lnSpc>
                <a:spcPct val="150000"/>
              </a:lnSpc>
              <a:tabLst>
                <a:tab pos="198120" algn="l"/>
              </a:tabLst>
            </a:pPr>
            <a:r>
              <a:rPr lang="zh-CN" altLang="zh-CN" sz="3600" b="1" smtClean="0">
                <a:gradFill>
                  <a:gsLst>
                    <a:gs pos="0">
                      <a:srgbClr val="00AF64"/>
                    </a:gs>
                    <a:gs pos="100000">
                      <a:srgbClr val="FF4900"/>
                    </a:gs>
                  </a:gsLst>
                  <a:lin ang="0" scaled="1"/>
                </a:gradFill>
                <a:latin typeface="Times New Roman" panose="02020603050405020304" pitchFamily="18" charset="0"/>
                <a:cs typeface="+mn-ea"/>
              </a:rPr>
              <a:t>项目概况</a:t>
            </a:r>
            <a:endParaRPr lang="zh-CN" altLang="en-US" sz="3600">
              <a:gradFill>
                <a:gsLst>
                  <a:gs pos="0">
                    <a:srgbClr val="00AF64"/>
                  </a:gs>
                  <a:gs pos="100000">
                    <a:srgbClr val="FF4900"/>
                  </a:gs>
                </a:gsLst>
                <a:lin ang="0" scaled="1"/>
              </a:gradFill>
              <a:cs typeface="+mn-ea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2474F-A3E7-4B46-B2E2-1FD4E918CDC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74424D-7043-4BE7-AFBD-7E4353B4A7E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3.xml"/><Relationship Id="rId6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.bin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.xml"/><Relationship Id="rId8" Type="http://schemas.openxmlformats.org/officeDocument/2006/relationships/image" Target="../media/image16.png"/><Relationship Id="rId7" Type="http://schemas.openxmlformats.org/officeDocument/2006/relationships/image" Target="../media/image15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507" y="1272656"/>
            <a:ext cx="5980694" cy="2566638"/>
          </a:xfrm>
          <a:prstGeom prst="rect">
            <a:avLst/>
          </a:prstGeom>
        </p:spPr>
      </p:pic>
      <p:sp>
        <p:nvSpPr>
          <p:cNvPr id="13" name="işḷiḑe"/>
          <p:cNvSpPr/>
          <p:nvPr/>
        </p:nvSpPr>
        <p:spPr>
          <a:xfrm>
            <a:off x="3425878" y="-6495"/>
            <a:ext cx="8766121" cy="6864495"/>
          </a:xfrm>
          <a:custGeom>
            <a:avLst/>
            <a:gdLst>
              <a:gd name="connsiteX0" fmla="*/ 2441430 w 8766121"/>
              <a:gd name="connsiteY0" fmla="*/ 4070865 h 6864495"/>
              <a:gd name="connsiteX1" fmla="*/ 2433469 w 8766121"/>
              <a:gd name="connsiteY1" fmla="*/ 4081338 h 6864495"/>
              <a:gd name="connsiteX2" fmla="*/ 2425028 w 8766121"/>
              <a:gd name="connsiteY2" fmla="*/ 4094030 h 6864495"/>
              <a:gd name="connsiteX3" fmla="*/ 4150578 w 8766121"/>
              <a:gd name="connsiteY3" fmla="*/ 0 h 6864495"/>
              <a:gd name="connsiteX4" fmla="*/ 5440530 w 8766121"/>
              <a:gd name="connsiteY4" fmla="*/ 0 h 6864495"/>
              <a:gd name="connsiteX5" fmla="*/ 8766121 w 8766121"/>
              <a:gd name="connsiteY5" fmla="*/ 0 h 6864495"/>
              <a:gd name="connsiteX6" fmla="*/ 8766121 w 8766121"/>
              <a:gd name="connsiteY6" fmla="*/ 6864495 h 6864495"/>
              <a:gd name="connsiteX7" fmla="*/ 0 w 8766121"/>
              <a:gd name="connsiteY7" fmla="*/ 6864495 h 6864495"/>
              <a:gd name="connsiteX8" fmla="*/ 58317 w 8766121"/>
              <a:gd name="connsiteY8" fmla="*/ 6694948 h 6864495"/>
              <a:gd name="connsiteX9" fmla="*/ 1524552 w 8766121"/>
              <a:gd name="connsiteY9" fmla="*/ 4389202 h 6864495"/>
              <a:gd name="connsiteX10" fmla="*/ 4096598 w 8766121"/>
              <a:gd name="connsiteY10" fmla="*/ 1 h 6864495"/>
              <a:gd name="connsiteX11" fmla="*/ 4150578 w 8766121"/>
              <a:gd name="connsiteY11" fmla="*/ 1 h 686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66121" h="6864495">
                <a:moveTo>
                  <a:pt x="2441430" y="4070865"/>
                </a:moveTo>
                <a:lnTo>
                  <a:pt x="2433469" y="4081338"/>
                </a:lnTo>
                <a:lnTo>
                  <a:pt x="2425028" y="4094030"/>
                </a:lnTo>
                <a:close/>
                <a:moveTo>
                  <a:pt x="4150578" y="0"/>
                </a:moveTo>
                <a:lnTo>
                  <a:pt x="5440530" y="0"/>
                </a:lnTo>
                <a:lnTo>
                  <a:pt x="8766121" y="0"/>
                </a:lnTo>
                <a:lnTo>
                  <a:pt x="8766121" y="6864495"/>
                </a:lnTo>
                <a:lnTo>
                  <a:pt x="0" y="6864495"/>
                </a:lnTo>
                <a:lnTo>
                  <a:pt x="58317" y="6694948"/>
                </a:lnTo>
                <a:cubicBezTo>
                  <a:pt x="580699" y="5295965"/>
                  <a:pt x="1524552" y="4389202"/>
                  <a:pt x="1524552" y="4389202"/>
                </a:cubicBezTo>
                <a:cubicBezTo>
                  <a:pt x="3421004" y="2537250"/>
                  <a:pt x="3999536" y="1042755"/>
                  <a:pt x="4096598" y="1"/>
                </a:cubicBezTo>
                <a:lnTo>
                  <a:pt x="4150578" y="1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6987" r="-40000"/>
            </a:stretch>
          </a:blip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îṣ1íḓe"/>
          <p:cNvSpPr/>
          <p:nvPr/>
        </p:nvSpPr>
        <p:spPr>
          <a:xfrm>
            <a:off x="10042064" y="3312531"/>
            <a:ext cx="2149936" cy="3545469"/>
          </a:xfrm>
          <a:custGeom>
            <a:avLst/>
            <a:gdLst>
              <a:gd name="connsiteX0" fmla="*/ 2149936 w 2149936"/>
              <a:gd name="connsiteY0" fmla="*/ 0 h 3545469"/>
              <a:gd name="connsiteX1" fmla="*/ 2149936 w 2149936"/>
              <a:gd name="connsiteY1" fmla="*/ 1870566 h 3545469"/>
              <a:gd name="connsiteX2" fmla="*/ 2135332 w 2149936"/>
              <a:gd name="connsiteY2" fmla="*/ 1887701 h 3545469"/>
              <a:gd name="connsiteX3" fmla="*/ 1183289 w 2149936"/>
              <a:gd name="connsiteY3" fmla="*/ 2952994 h 3545469"/>
              <a:gd name="connsiteX4" fmla="*/ 764752 w 2149936"/>
              <a:gd name="connsiteY4" fmla="*/ 3545469 h 3545469"/>
              <a:gd name="connsiteX5" fmla="*/ 0 w 2149936"/>
              <a:gd name="connsiteY5" fmla="*/ 3545469 h 3545469"/>
              <a:gd name="connsiteX6" fmla="*/ 539327 w 2149936"/>
              <a:gd name="connsiteY6" fmla="*/ 2874028 h 3545469"/>
              <a:gd name="connsiteX7" fmla="*/ 2148283 w 2149936"/>
              <a:gd name="connsiteY7" fmla="*/ 17622 h 354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9936" h="3545469">
                <a:moveTo>
                  <a:pt x="2149936" y="0"/>
                </a:moveTo>
                <a:lnTo>
                  <a:pt x="2149936" y="1870566"/>
                </a:lnTo>
                <a:lnTo>
                  <a:pt x="2135332" y="1887701"/>
                </a:lnTo>
                <a:cubicBezTo>
                  <a:pt x="1819503" y="2249763"/>
                  <a:pt x="1476129" y="2599117"/>
                  <a:pt x="1183289" y="2952994"/>
                </a:cubicBezTo>
                <a:cubicBezTo>
                  <a:pt x="1018259" y="3152449"/>
                  <a:pt x="880257" y="3351451"/>
                  <a:pt x="764752" y="3545469"/>
                </a:cubicBezTo>
                <a:lnTo>
                  <a:pt x="0" y="3545469"/>
                </a:lnTo>
                <a:cubicBezTo>
                  <a:pt x="293671" y="3137501"/>
                  <a:pt x="539327" y="2873877"/>
                  <a:pt x="539327" y="2874028"/>
                </a:cubicBezTo>
                <a:cubicBezTo>
                  <a:pt x="1872093" y="1458209"/>
                  <a:pt x="2107035" y="374309"/>
                  <a:pt x="2148283" y="1762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ś1ïde"/>
          <p:cNvSpPr/>
          <p:nvPr/>
        </p:nvSpPr>
        <p:spPr>
          <a:xfrm>
            <a:off x="10333622" y="4184081"/>
            <a:ext cx="1858379" cy="2678298"/>
          </a:xfrm>
          <a:custGeom>
            <a:avLst/>
            <a:gdLst>
              <a:gd name="connsiteX0" fmla="*/ 1858379 w 1858379"/>
              <a:gd name="connsiteY0" fmla="*/ 0 h 2678298"/>
              <a:gd name="connsiteX1" fmla="*/ 1858379 w 1858379"/>
              <a:gd name="connsiteY1" fmla="*/ 885358 h 2678298"/>
              <a:gd name="connsiteX2" fmla="*/ 1778441 w 1858379"/>
              <a:gd name="connsiteY2" fmla="*/ 984819 h 2678298"/>
              <a:gd name="connsiteX3" fmla="*/ 671139 w 1858379"/>
              <a:gd name="connsiteY3" fmla="*/ 2232281 h 2678298"/>
              <a:gd name="connsiteX4" fmla="*/ 343647 w 1858379"/>
              <a:gd name="connsiteY4" fmla="*/ 2678298 h 2678298"/>
              <a:gd name="connsiteX5" fmla="*/ 0 w 1858379"/>
              <a:gd name="connsiteY5" fmla="*/ 2678298 h 2678298"/>
              <a:gd name="connsiteX6" fmla="*/ 431371 w 1858379"/>
              <a:gd name="connsiteY6" fmla="*/ 2153314 h 2678298"/>
              <a:gd name="connsiteX7" fmla="*/ 1855334 w 1858379"/>
              <a:gd name="connsiteY7" fmla="*/ 8708 h 2678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58379" h="2678298">
                <a:moveTo>
                  <a:pt x="1858379" y="0"/>
                </a:moveTo>
                <a:lnTo>
                  <a:pt x="1858379" y="885358"/>
                </a:lnTo>
                <a:lnTo>
                  <a:pt x="1778441" y="984819"/>
                </a:lnTo>
                <a:cubicBezTo>
                  <a:pt x="1423215" y="1412725"/>
                  <a:pt x="1012786" y="1819425"/>
                  <a:pt x="671139" y="2232281"/>
                </a:cubicBezTo>
                <a:cubicBezTo>
                  <a:pt x="547480" y="2381758"/>
                  <a:pt x="438920" y="2531085"/>
                  <a:pt x="343647" y="2678298"/>
                </a:cubicBezTo>
                <a:lnTo>
                  <a:pt x="0" y="2678298"/>
                </a:lnTo>
                <a:cubicBezTo>
                  <a:pt x="243543" y="2354883"/>
                  <a:pt x="431371" y="2153164"/>
                  <a:pt x="431371" y="2153314"/>
                </a:cubicBezTo>
                <a:cubicBezTo>
                  <a:pt x="1251535" y="1282042"/>
                  <a:pt x="1655955" y="536466"/>
                  <a:pt x="1855334" y="8708"/>
                </a:cubicBezTo>
                <a:close/>
              </a:path>
            </a:pathLst>
          </a:custGeom>
          <a:solidFill>
            <a:srgbClr val="149CEA">
              <a:alpha val="80000"/>
            </a:srgbClr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îSľîḋé"/>
          <p:cNvSpPr/>
          <p:nvPr/>
        </p:nvSpPr>
        <p:spPr>
          <a:xfrm>
            <a:off x="10858302" y="5146669"/>
            <a:ext cx="1333698" cy="1717825"/>
          </a:xfrm>
          <a:custGeom>
            <a:avLst/>
            <a:gdLst>
              <a:gd name="connsiteX0" fmla="*/ 1333698 w 1333698"/>
              <a:gd name="connsiteY0" fmla="*/ 0 h 1717825"/>
              <a:gd name="connsiteX1" fmla="*/ 1333698 w 1333698"/>
              <a:gd name="connsiteY1" fmla="*/ 1717825 h 1717825"/>
              <a:gd name="connsiteX2" fmla="*/ 0 w 1333698"/>
              <a:gd name="connsiteY2" fmla="*/ 1717825 h 1717825"/>
              <a:gd name="connsiteX3" fmla="*/ 268606 w 1333698"/>
              <a:gd name="connsiteY3" fmla="*/ 1402110 h 1717825"/>
              <a:gd name="connsiteX4" fmla="*/ 1213382 w 1333698"/>
              <a:gd name="connsiteY4" fmla="*/ 200989 h 171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3698" h="1717825">
                <a:moveTo>
                  <a:pt x="1333698" y="0"/>
                </a:moveTo>
                <a:lnTo>
                  <a:pt x="1333698" y="1717825"/>
                </a:lnTo>
                <a:lnTo>
                  <a:pt x="0" y="1717825"/>
                </a:lnTo>
                <a:cubicBezTo>
                  <a:pt x="159593" y="1518974"/>
                  <a:pt x="268757" y="1401959"/>
                  <a:pt x="268606" y="1402110"/>
                </a:cubicBezTo>
                <a:cubicBezTo>
                  <a:pt x="678688" y="966474"/>
                  <a:pt x="984834" y="562261"/>
                  <a:pt x="1213382" y="200989"/>
                </a:cubicBezTo>
                <a:close/>
              </a:path>
            </a:pathLst>
          </a:custGeom>
          <a:solidFill>
            <a:srgbClr val="0B70C9"/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ïṧlîḓê"/>
          <p:cNvSpPr/>
          <p:nvPr/>
        </p:nvSpPr>
        <p:spPr>
          <a:xfrm>
            <a:off x="3385742" y="-6494"/>
            <a:ext cx="4807392" cy="6864494"/>
          </a:xfrm>
          <a:custGeom>
            <a:avLst/>
            <a:gdLst>
              <a:gd name="connsiteX0" fmla="*/ 1137871 w 4807391"/>
              <a:gd name="connsiteY0" fmla="*/ 6808035 h 6799808"/>
              <a:gd name="connsiteX1" fmla="*/ 2192207 w 4807391"/>
              <a:gd name="connsiteY1" fmla="*/ 4367050 h 6799808"/>
              <a:gd name="connsiteX2" fmla="*/ 4814338 w 4807391"/>
              <a:gd name="connsiteY2" fmla="*/ 0 h 6799808"/>
              <a:gd name="connsiteX3" fmla="*/ 4136733 w 4807391"/>
              <a:gd name="connsiteY3" fmla="*/ 0 h 6799808"/>
              <a:gd name="connsiteX4" fmla="*/ 1564687 w 4807391"/>
              <a:gd name="connsiteY4" fmla="*/ 4280224 h 6799808"/>
              <a:gd name="connsiteX5" fmla="*/ 0 w 4807391"/>
              <a:gd name="connsiteY5" fmla="*/ 6807852 h 6799808"/>
              <a:gd name="connsiteX6" fmla="*/ 1137871 w 4807391"/>
              <a:gd name="connsiteY6" fmla="*/ 6807852 h 679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7391" h="6799808">
                <a:moveTo>
                  <a:pt x="1137871" y="6808035"/>
                </a:moveTo>
                <a:cubicBezTo>
                  <a:pt x="1326328" y="6074679"/>
                  <a:pt x="1649136" y="5237681"/>
                  <a:pt x="2192207" y="4367050"/>
                </a:cubicBezTo>
                <a:cubicBezTo>
                  <a:pt x="3071795" y="2957551"/>
                  <a:pt x="4306546" y="1531968"/>
                  <a:pt x="4814338" y="0"/>
                </a:cubicBezTo>
                <a:lnTo>
                  <a:pt x="4136733" y="0"/>
                </a:lnTo>
                <a:cubicBezTo>
                  <a:pt x="4039671" y="1016864"/>
                  <a:pt x="3461139" y="2474253"/>
                  <a:pt x="1564687" y="4280224"/>
                </a:cubicBezTo>
                <a:cubicBezTo>
                  <a:pt x="1564687" y="4280224"/>
                  <a:pt x="490793" y="5286304"/>
                  <a:pt x="0" y="6807852"/>
                </a:cubicBezTo>
                <a:lnTo>
                  <a:pt x="1137871" y="6807852"/>
                </a:lnTo>
                <a:close/>
              </a:path>
            </a:pathLst>
          </a:custGeom>
          <a:solidFill>
            <a:srgbClr val="0877D7"/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ïŝḻíḑé"/>
          <p:cNvSpPr/>
          <p:nvPr/>
        </p:nvSpPr>
        <p:spPr>
          <a:xfrm>
            <a:off x="4000101" y="-6494"/>
            <a:ext cx="4423531" cy="6864494"/>
          </a:xfrm>
          <a:custGeom>
            <a:avLst/>
            <a:gdLst>
              <a:gd name="connsiteX0" fmla="*/ 868804 w 4423531"/>
              <a:gd name="connsiteY0" fmla="*/ 6841485 h 6836367"/>
              <a:gd name="connsiteX1" fmla="*/ 2088199 w 4423531"/>
              <a:gd name="connsiteY1" fmla="*/ 3706079 h 6836367"/>
              <a:gd name="connsiteX2" fmla="*/ 4436875 w 4423531"/>
              <a:gd name="connsiteY2" fmla="*/ 0 h 6836367"/>
              <a:gd name="connsiteX3" fmla="*/ 3756163 w 4423531"/>
              <a:gd name="connsiteY3" fmla="*/ 0 h 6836367"/>
              <a:gd name="connsiteX4" fmla="*/ 1797745 w 4423531"/>
              <a:gd name="connsiteY4" fmla="*/ 3610296 h 6836367"/>
              <a:gd name="connsiteX5" fmla="*/ 0 w 4423531"/>
              <a:gd name="connsiteY5" fmla="*/ 6841485 h 6836367"/>
              <a:gd name="connsiteX6" fmla="*/ 868804 w 4423531"/>
              <a:gd name="connsiteY6" fmla="*/ 6841485 h 6836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23531" h="6836367">
                <a:moveTo>
                  <a:pt x="868804" y="6841485"/>
                </a:moveTo>
                <a:cubicBezTo>
                  <a:pt x="868804" y="6841485"/>
                  <a:pt x="781978" y="5284475"/>
                  <a:pt x="2088199" y="3706079"/>
                </a:cubicBezTo>
                <a:cubicBezTo>
                  <a:pt x="3033409" y="2563820"/>
                  <a:pt x="4413844" y="1460131"/>
                  <a:pt x="4436875" y="0"/>
                </a:cubicBezTo>
                <a:lnTo>
                  <a:pt x="3756163" y="0"/>
                </a:lnTo>
                <a:cubicBezTo>
                  <a:pt x="3756163" y="0"/>
                  <a:pt x="3783582" y="1500893"/>
                  <a:pt x="1797745" y="3610296"/>
                </a:cubicBezTo>
                <a:cubicBezTo>
                  <a:pt x="1797745" y="3610296"/>
                  <a:pt x="274186" y="5245541"/>
                  <a:pt x="0" y="6841485"/>
                </a:cubicBezTo>
                <a:lnTo>
                  <a:pt x="868804" y="6841485"/>
                </a:lnTo>
                <a:close/>
              </a:path>
            </a:pathLst>
          </a:custGeom>
          <a:solidFill>
            <a:srgbClr val="149CEA">
              <a:alpha val="70000"/>
            </a:srgbClr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ïśḻiďè"/>
          <p:cNvSpPr/>
          <p:nvPr/>
        </p:nvSpPr>
        <p:spPr>
          <a:xfrm>
            <a:off x="4596729" y="0"/>
            <a:ext cx="4423531" cy="6858000"/>
          </a:xfrm>
          <a:custGeom>
            <a:avLst/>
            <a:gdLst>
              <a:gd name="connsiteX0" fmla="*/ 868621 w 4423531"/>
              <a:gd name="connsiteY0" fmla="*/ 6841485 h 6836367"/>
              <a:gd name="connsiteX1" fmla="*/ 2088017 w 4423531"/>
              <a:gd name="connsiteY1" fmla="*/ 3706079 h 6836367"/>
              <a:gd name="connsiteX2" fmla="*/ 4436876 w 4423531"/>
              <a:gd name="connsiteY2" fmla="*/ 0 h 6836367"/>
              <a:gd name="connsiteX3" fmla="*/ 3756163 w 4423531"/>
              <a:gd name="connsiteY3" fmla="*/ 0 h 6836367"/>
              <a:gd name="connsiteX4" fmla="*/ 1797745 w 4423531"/>
              <a:gd name="connsiteY4" fmla="*/ 3610296 h 6836367"/>
              <a:gd name="connsiteX5" fmla="*/ 0 w 4423531"/>
              <a:gd name="connsiteY5" fmla="*/ 6841485 h 6836367"/>
              <a:gd name="connsiteX6" fmla="*/ 868621 w 4423531"/>
              <a:gd name="connsiteY6" fmla="*/ 6841485 h 6836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23531" h="6836367">
                <a:moveTo>
                  <a:pt x="868621" y="6841485"/>
                </a:moveTo>
                <a:cubicBezTo>
                  <a:pt x="868621" y="6841485"/>
                  <a:pt x="781795" y="5284475"/>
                  <a:pt x="2088017" y="3706079"/>
                </a:cubicBezTo>
                <a:cubicBezTo>
                  <a:pt x="3033409" y="2563820"/>
                  <a:pt x="4413844" y="1460131"/>
                  <a:pt x="4436876" y="0"/>
                </a:cubicBezTo>
                <a:lnTo>
                  <a:pt x="3756163" y="0"/>
                </a:lnTo>
                <a:cubicBezTo>
                  <a:pt x="3756163" y="0"/>
                  <a:pt x="3783582" y="1500893"/>
                  <a:pt x="1797745" y="3610296"/>
                </a:cubicBezTo>
                <a:cubicBezTo>
                  <a:pt x="1797745" y="3610296"/>
                  <a:pt x="274186" y="5245541"/>
                  <a:pt x="0" y="6841485"/>
                </a:cubicBezTo>
                <a:lnTo>
                  <a:pt x="868621" y="6841485"/>
                </a:lnTo>
                <a:close/>
              </a:path>
            </a:pathLst>
          </a:custGeom>
          <a:solidFill>
            <a:schemeClr val="bg1"/>
          </a:solidFill>
          <a:ln w="1827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iślîḋe"/>
          <p:cNvSpPr/>
          <p:nvPr/>
        </p:nvSpPr>
        <p:spPr>
          <a:xfrm>
            <a:off x="669924" y="3759200"/>
            <a:ext cx="2290989" cy="558799"/>
          </a:xfrm>
          <a:prstGeom prst="roundRect">
            <a:avLst>
              <a:gd name="adj" fmla="val 50000"/>
            </a:avLst>
          </a:prstGeom>
          <a:solidFill>
            <a:srgbClr val="0777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汇报</a:t>
            </a:r>
            <a:r>
              <a:rPr lang="zh-CN" altLang="en-US" b="1" smtClean="0"/>
              <a:t>人</a:t>
            </a:r>
            <a:r>
              <a:rPr lang="zh-CN" altLang="en-US" b="1"/>
              <a:t>：曹文文</a:t>
            </a:r>
            <a:endParaRPr lang="zh-CN" altLang="en-US" b="1"/>
          </a:p>
        </p:txBody>
      </p:sp>
      <p:graphicFrame>
        <p:nvGraphicFramePr>
          <p:cNvPr id="3" name="î$ḷíďè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î$ḷíďè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ŝľïḓè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60400" y="1277035"/>
            <a:ext cx="4892040" cy="423545"/>
          </a:xfrm>
          <a:prstGeom prst="rect">
            <a:avLst/>
          </a:prstGeom>
        </p:spPr>
        <p:txBody>
          <a:bodyPr wrap="none" lIns="0" tIns="45720" rIns="91440" bIns="4572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kern="100">
                <a:solidFill>
                  <a:srgbClr val="00469C"/>
                </a:solidFill>
                <a:cs typeface="+mn-ea"/>
                <a:sym typeface="+mn-lt"/>
              </a:rPr>
              <a:t>仪征技师学院第一期青年骨干教师培训</a:t>
            </a:r>
            <a:r>
              <a:rPr lang="zh-CN" altLang="zh-CN" kern="100" smtClean="0">
                <a:solidFill>
                  <a:srgbClr val="00469C"/>
                </a:solidFill>
                <a:cs typeface="+mn-ea"/>
                <a:sym typeface="+mn-lt"/>
              </a:rPr>
              <a:t>班学习</a:t>
            </a:r>
            <a:r>
              <a:rPr lang="zh-CN" altLang="en-US" kern="100" smtClean="0">
                <a:solidFill>
                  <a:srgbClr val="00469C"/>
                </a:solidFill>
                <a:cs typeface="+mn-ea"/>
                <a:sym typeface="+mn-lt"/>
              </a:rPr>
              <a:t>后</a:t>
            </a:r>
            <a:endParaRPr lang="zh-CN" altLang="en-US">
              <a:solidFill>
                <a:srgbClr val="00469C"/>
              </a:solidFill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69924" y="3020312"/>
            <a:ext cx="4725717" cy="645754"/>
          </a:xfrm>
          <a:prstGeom prst="rect">
            <a:avLst/>
          </a:prstGeom>
        </p:spPr>
        <p:txBody>
          <a:bodyPr wrap="none" lIns="0" tIns="45720" rIns="91440" bIns="4572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300" b="1" kern="100" smtClean="0">
                <a:solidFill>
                  <a:srgbClr val="00469C"/>
                </a:solidFill>
                <a:cs typeface="+mn-ea"/>
                <a:sym typeface="+mn-lt"/>
              </a:rPr>
              <a:t>PERSONAL SUMMARY</a:t>
            </a:r>
            <a:endParaRPr lang="zh-CN" altLang="en-US" sz="3300" b="1">
              <a:solidFill>
                <a:srgbClr val="00469C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14:warp dir="in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12" grpId="0" animBg="1"/>
      <p:bldP spid="11" grpId="0"/>
      <p:bldP spid="1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en-US" altLang="zh-CN"/>
              <a:t>2.</a:t>
            </a:r>
            <a:r>
              <a:rPr lang="zh-CN" altLang="zh-CN"/>
              <a:t>把务实作为工作的基础</a:t>
            </a:r>
            <a:endParaRPr lang="zh-CN" altLang="zh-CN"/>
          </a:p>
        </p:txBody>
      </p:sp>
      <p:sp>
        <p:nvSpPr>
          <p:cNvPr id="5" name="Freeform: Shape 1"/>
          <p:cNvSpPr/>
          <p:nvPr/>
        </p:nvSpPr>
        <p:spPr>
          <a:xfrm flipH="1" flipV="1">
            <a:off x="0" y="0"/>
            <a:ext cx="12192000" cy="6857999"/>
          </a:xfrm>
          <a:custGeom>
            <a:avLst/>
            <a:gdLst>
              <a:gd name="connsiteX0" fmla="*/ 0 w 12192000"/>
              <a:gd name="connsiteY0" fmla="*/ 0 h 6524189"/>
              <a:gd name="connsiteX1" fmla="*/ 12192000 w 12192000"/>
              <a:gd name="connsiteY1" fmla="*/ 0 h 6524189"/>
              <a:gd name="connsiteX2" fmla="*/ 12192000 w 12192000"/>
              <a:gd name="connsiteY2" fmla="*/ 520376 h 6524189"/>
              <a:gd name="connsiteX3" fmla="*/ 12158275 w 12192000"/>
              <a:gd name="connsiteY3" fmla="*/ 525151 h 6524189"/>
              <a:gd name="connsiteX4" fmla="*/ 504422 w 12192000"/>
              <a:gd name="connsiteY4" fmla="*/ 6000075 h 6524189"/>
              <a:gd name="connsiteX5" fmla="*/ 0 w 12192000"/>
              <a:gd name="connsiteY5" fmla="*/ 6524189 h 6524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524189">
                <a:moveTo>
                  <a:pt x="0" y="0"/>
                </a:moveTo>
                <a:lnTo>
                  <a:pt x="12192000" y="0"/>
                </a:lnTo>
                <a:lnTo>
                  <a:pt x="12192000" y="520376"/>
                </a:lnTo>
                <a:lnTo>
                  <a:pt x="12158275" y="525151"/>
                </a:lnTo>
                <a:cubicBezTo>
                  <a:pt x="7415213" y="1242283"/>
                  <a:pt x="3301696" y="3236385"/>
                  <a:pt x="504422" y="6000075"/>
                </a:cubicBezTo>
                <a:lnTo>
                  <a:pt x="0" y="6524189"/>
                </a:lnTo>
                <a:close/>
              </a:path>
            </a:pathLst>
          </a:custGeom>
          <a:gradFill>
            <a:gsLst>
              <a:gs pos="0">
                <a:srgbClr val="149CEA"/>
              </a:gs>
              <a:gs pos="100000">
                <a:srgbClr val="03378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</a:pPr>
            <a:endParaRPr lang="en-US">
              <a:cs typeface="+mn-ea"/>
            </a:endParaRPr>
          </a:p>
        </p:txBody>
      </p:sp>
      <p:grpSp>
        <p:nvGrpSpPr>
          <p:cNvPr id="564" name="组合 563"/>
          <p:cNvGrpSpPr/>
          <p:nvPr/>
        </p:nvGrpSpPr>
        <p:grpSpPr>
          <a:xfrm>
            <a:off x="692741" y="1669104"/>
            <a:ext cx="4811776" cy="1611777"/>
            <a:chOff x="692741" y="1669104"/>
            <a:chExt cx="5056536" cy="1611777"/>
          </a:xfrm>
        </p:grpSpPr>
        <p:sp>
          <p:nvSpPr>
            <p:cNvPr id="6" name="矩形 5"/>
            <p:cNvSpPr/>
            <p:nvPr/>
          </p:nvSpPr>
          <p:spPr>
            <a:xfrm>
              <a:off x="1466837" y="2284566"/>
              <a:ext cx="4282440" cy="99631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轮岗实践锻炼意味着能力和阅历的提升，我将以求真务实的态度，努力干好领导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配的各项工作任务</a:t>
              </a:r>
              <a:endParaRPr lang="en-US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1466837" y="1669104"/>
              <a:ext cx="4282440" cy="56951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800" b="1" smtClean="0">
                  <a:solidFill>
                    <a:srgbClr val="033782"/>
                  </a:solidFill>
                  <a:cs typeface="+mn-ea"/>
                </a:rPr>
                <a:t>求真务实的态度</a:t>
              </a:r>
              <a:endParaRPr lang="zh-CN" altLang="en-US" sz="2800" b="1">
                <a:solidFill>
                  <a:srgbClr val="033782"/>
                </a:solidFill>
                <a:cs typeface="+mn-ea"/>
              </a:endParaRPr>
            </a:p>
          </p:txBody>
        </p:sp>
        <p:sp>
          <p:nvSpPr>
            <p:cNvPr id="154" name="businessman_126238"/>
            <p:cNvSpPr>
              <a:spLocks noChangeAspect="1"/>
            </p:cNvSpPr>
            <p:nvPr/>
          </p:nvSpPr>
          <p:spPr bwMode="auto">
            <a:xfrm>
              <a:off x="692741" y="1889365"/>
              <a:ext cx="559568" cy="609684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rgbClr val="03378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565" name="组合 564"/>
          <p:cNvGrpSpPr/>
          <p:nvPr/>
        </p:nvGrpSpPr>
        <p:grpSpPr>
          <a:xfrm>
            <a:off x="667685" y="3476140"/>
            <a:ext cx="4835620" cy="1611777"/>
            <a:chOff x="667684" y="3476140"/>
            <a:chExt cx="5081593" cy="1611777"/>
          </a:xfrm>
        </p:grpSpPr>
        <p:sp>
          <p:nvSpPr>
            <p:cNvPr id="9" name="矩形 8"/>
            <p:cNvSpPr/>
            <p:nvPr/>
          </p:nvSpPr>
          <p:spPr>
            <a:xfrm>
              <a:off x="1466837" y="4091602"/>
              <a:ext cx="4282440" cy="99631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轮岗实践锻炼期间，我将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摆正自己的位置，保证脚踏实地、埋头苦干，坚决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做</a:t>
              </a:r>
              <a:r>
                <a:rPr lang="zh-CN" altLang="zh-CN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到不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错位、不缺位、不越位。</a:t>
              </a:r>
              <a:endParaRPr lang="zh-CN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1466837" y="3476140"/>
              <a:ext cx="4282440" cy="56951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800" b="1" smtClean="0">
                  <a:solidFill>
                    <a:srgbClr val="033782"/>
                  </a:solidFill>
                  <a:cs typeface="+mn-ea"/>
                </a:rPr>
                <a:t>不错位、不缺位、不越位</a:t>
              </a:r>
              <a:endParaRPr lang="zh-CN" altLang="en-US" sz="2800" b="1">
                <a:solidFill>
                  <a:srgbClr val="033782"/>
                </a:solidFill>
                <a:cs typeface="+mn-ea"/>
              </a:endParaRPr>
            </a:p>
          </p:txBody>
        </p:sp>
        <p:sp>
          <p:nvSpPr>
            <p:cNvPr id="155" name="businessman_126238"/>
            <p:cNvSpPr>
              <a:spLocks noChangeAspect="1"/>
            </p:cNvSpPr>
            <p:nvPr/>
          </p:nvSpPr>
          <p:spPr bwMode="auto">
            <a:xfrm>
              <a:off x="667684" y="3751449"/>
              <a:ext cx="609684" cy="465405"/>
            </a:xfrm>
            <a:custGeom>
              <a:avLst/>
              <a:gdLst>
                <a:gd name="connsiteX0" fmla="*/ 378825 w 605028"/>
                <a:gd name="connsiteY0" fmla="*/ 263562 h 461851"/>
                <a:gd name="connsiteX1" fmla="*/ 415301 w 605028"/>
                <a:gd name="connsiteY1" fmla="*/ 263562 h 461851"/>
                <a:gd name="connsiteX2" fmla="*/ 488533 w 605028"/>
                <a:gd name="connsiteY2" fmla="*/ 305806 h 461851"/>
                <a:gd name="connsiteX3" fmla="*/ 496497 w 605028"/>
                <a:gd name="connsiteY3" fmla="*/ 291819 h 461851"/>
                <a:gd name="connsiteX4" fmla="*/ 521761 w 605028"/>
                <a:gd name="connsiteY4" fmla="*/ 335424 h 461851"/>
                <a:gd name="connsiteX5" fmla="*/ 471507 w 605028"/>
                <a:gd name="connsiteY5" fmla="*/ 335424 h 461851"/>
                <a:gd name="connsiteX6" fmla="*/ 479471 w 605028"/>
                <a:gd name="connsiteY6" fmla="*/ 321438 h 461851"/>
                <a:gd name="connsiteX7" fmla="*/ 323594 w 605028"/>
                <a:gd name="connsiteY7" fmla="*/ 263562 h 461851"/>
                <a:gd name="connsiteX8" fmla="*/ 344491 w 605028"/>
                <a:gd name="connsiteY8" fmla="*/ 263562 h 461851"/>
                <a:gd name="connsiteX9" fmla="*/ 415211 w 605028"/>
                <a:gd name="connsiteY9" fmla="*/ 385611 h 461851"/>
                <a:gd name="connsiteX10" fmla="*/ 429217 w 605028"/>
                <a:gd name="connsiteY10" fmla="*/ 377658 h 461851"/>
                <a:gd name="connsiteX11" fmla="*/ 429217 w 605028"/>
                <a:gd name="connsiteY11" fmla="*/ 427845 h 461851"/>
                <a:gd name="connsiteX12" fmla="*/ 385553 w 605028"/>
                <a:gd name="connsiteY12" fmla="*/ 402888 h 461851"/>
                <a:gd name="connsiteX13" fmla="*/ 399558 w 605028"/>
                <a:gd name="connsiteY13" fmla="*/ 394661 h 461851"/>
                <a:gd name="connsiteX14" fmla="*/ 293558 w 605028"/>
                <a:gd name="connsiteY14" fmla="*/ 263562 h 461851"/>
                <a:gd name="connsiteX15" fmla="*/ 311682 w 605028"/>
                <a:gd name="connsiteY15" fmla="*/ 263562 h 461851"/>
                <a:gd name="connsiteX16" fmla="*/ 311682 w 605028"/>
                <a:gd name="connsiteY16" fmla="*/ 418246 h 461851"/>
                <a:gd name="connsiteX17" fmla="*/ 327610 w 605028"/>
                <a:gd name="connsiteY17" fmla="*/ 418246 h 461851"/>
                <a:gd name="connsiteX18" fmla="*/ 302620 w 605028"/>
                <a:gd name="connsiteY18" fmla="*/ 461851 h 461851"/>
                <a:gd name="connsiteX19" fmla="*/ 277356 w 605028"/>
                <a:gd name="connsiteY19" fmla="*/ 418246 h 461851"/>
                <a:gd name="connsiteX20" fmla="*/ 293558 w 605028"/>
                <a:gd name="connsiteY20" fmla="*/ 418246 h 461851"/>
                <a:gd name="connsiteX21" fmla="*/ 260527 w 605028"/>
                <a:gd name="connsiteY21" fmla="*/ 263562 h 461851"/>
                <a:gd name="connsiteX22" fmla="*/ 281646 w 605028"/>
                <a:gd name="connsiteY22" fmla="*/ 263562 h 461851"/>
                <a:gd name="connsiteX23" fmla="*/ 205682 w 605028"/>
                <a:gd name="connsiteY23" fmla="*/ 394661 h 461851"/>
                <a:gd name="connsiteX24" fmla="*/ 219687 w 605028"/>
                <a:gd name="connsiteY24" fmla="*/ 402888 h 461851"/>
                <a:gd name="connsiteX25" fmla="*/ 176024 w 605028"/>
                <a:gd name="connsiteY25" fmla="*/ 427845 h 461851"/>
                <a:gd name="connsiteX26" fmla="*/ 176024 w 605028"/>
                <a:gd name="connsiteY26" fmla="*/ 377658 h 461851"/>
                <a:gd name="connsiteX27" fmla="*/ 190029 w 605028"/>
                <a:gd name="connsiteY27" fmla="*/ 385611 h 461851"/>
                <a:gd name="connsiteX28" fmla="*/ 189665 w 605028"/>
                <a:gd name="connsiteY28" fmla="*/ 263562 h 461851"/>
                <a:gd name="connsiteX29" fmla="*/ 226233 w 605028"/>
                <a:gd name="connsiteY29" fmla="*/ 263562 h 461851"/>
                <a:gd name="connsiteX30" fmla="*/ 125769 w 605028"/>
                <a:gd name="connsiteY30" fmla="*/ 321438 h 461851"/>
                <a:gd name="connsiteX31" fmla="*/ 133733 w 605028"/>
                <a:gd name="connsiteY31" fmla="*/ 335424 h 461851"/>
                <a:gd name="connsiteX32" fmla="*/ 83479 w 605028"/>
                <a:gd name="connsiteY32" fmla="*/ 335424 h 461851"/>
                <a:gd name="connsiteX33" fmla="*/ 108469 w 605028"/>
                <a:gd name="connsiteY33" fmla="*/ 291819 h 461851"/>
                <a:gd name="connsiteX34" fmla="*/ 116433 w 605028"/>
                <a:gd name="connsiteY34" fmla="*/ 305806 h 461851"/>
                <a:gd name="connsiteX35" fmla="*/ 311682 w 605028"/>
                <a:gd name="connsiteY35" fmla="*/ 243003 h 461851"/>
                <a:gd name="connsiteX36" fmla="*/ 323594 w 605028"/>
                <a:gd name="connsiteY36" fmla="*/ 263562 h 461851"/>
                <a:gd name="connsiteX37" fmla="*/ 311682 w 605028"/>
                <a:gd name="connsiteY37" fmla="*/ 263562 h 461851"/>
                <a:gd name="connsiteX38" fmla="*/ 293558 w 605028"/>
                <a:gd name="connsiteY38" fmla="*/ 243003 h 461851"/>
                <a:gd name="connsiteX39" fmla="*/ 293558 w 605028"/>
                <a:gd name="connsiteY39" fmla="*/ 263562 h 461851"/>
                <a:gd name="connsiteX40" fmla="*/ 281646 w 605028"/>
                <a:gd name="connsiteY40" fmla="*/ 263562 h 461851"/>
                <a:gd name="connsiteX41" fmla="*/ 327335 w 605028"/>
                <a:gd name="connsiteY41" fmla="*/ 233953 h 461851"/>
                <a:gd name="connsiteX42" fmla="*/ 378825 w 605028"/>
                <a:gd name="connsiteY42" fmla="*/ 263562 h 461851"/>
                <a:gd name="connsiteX43" fmla="*/ 344491 w 605028"/>
                <a:gd name="connsiteY43" fmla="*/ 263562 h 461851"/>
                <a:gd name="connsiteX44" fmla="*/ 277630 w 605028"/>
                <a:gd name="connsiteY44" fmla="*/ 233953 h 461851"/>
                <a:gd name="connsiteX45" fmla="*/ 260527 w 605028"/>
                <a:gd name="connsiteY45" fmla="*/ 263562 h 461851"/>
                <a:gd name="connsiteX46" fmla="*/ 226233 w 605028"/>
                <a:gd name="connsiteY46" fmla="*/ 263562 h 461851"/>
                <a:gd name="connsiteX47" fmla="*/ 365543 w 605028"/>
                <a:gd name="connsiteY47" fmla="*/ 0 h 461851"/>
                <a:gd name="connsiteX48" fmla="*/ 485560 w 605028"/>
                <a:gd name="connsiteY48" fmla="*/ 109703 h 461851"/>
                <a:gd name="connsiteX49" fmla="*/ 486659 w 605028"/>
                <a:gd name="connsiteY49" fmla="*/ 109703 h 461851"/>
                <a:gd name="connsiteX50" fmla="*/ 563283 w 605028"/>
                <a:gd name="connsiteY50" fmla="*/ 165378 h 461851"/>
                <a:gd name="connsiteX51" fmla="*/ 605028 w 605028"/>
                <a:gd name="connsiteY51" fmla="*/ 214195 h 461851"/>
                <a:gd name="connsiteX52" fmla="*/ 555593 w 605028"/>
                <a:gd name="connsiteY52" fmla="*/ 263562 h 461851"/>
                <a:gd name="connsiteX53" fmla="*/ 415301 w 605028"/>
                <a:gd name="connsiteY53" fmla="*/ 263562 h 461851"/>
                <a:gd name="connsiteX54" fmla="*/ 336397 w 605028"/>
                <a:gd name="connsiteY54" fmla="*/ 218047 h 461851"/>
                <a:gd name="connsiteX55" fmla="*/ 268568 w 605028"/>
                <a:gd name="connsiteY55" fmla="*/ 218047 h 461851"/>
                <a:gd name="connsiteX56" fmla="*/ 189665 w 605028"/>
                <a:gd name="connsiteY56" fmla="*/ 263562 h 461851"/>
                <a:gd name="connsiteX57" fmla="*/ 49435 w 605028"/>
                <a:gd name="connsiteY57" fmla="*/ 263562 h 461851"/>
                <a:gd name="connsiteX58" fmla="*/ 0 w 605028"/>
                <a:gd name="connsiteY58" fmla="*/ 214195 h 461851"/>
                <a:gd name="connsiteX59" fmla="*/ 49435 w 605028"/>
                <a:gd name="connsiteY59" fmla="*/ 164829 h 461851"/>
                <a:gd name="connsiteX60" fmla="*/ 119468 w 605028"/>
                <a:gd name="connsiteY60" fmla="*/ 94893 h 461851"/>
                <a:gd name="connsiteX61" fmla="*/ 144185 w 605028"/>
                <a:gd name="connsiteY61" fmla="*/ 99556 h 461851"/>
                <a:gd name="connsiteX62" fmla="*/ 224929 w 605028"/>
                <a:gd name="connsiteY62" fmla="*/ 20844 h 461851"/>
                <a:gd name="connsiteX63" fmla="*/ 276286 w 605028"/>
                <a:gd name="connsiteY63" fmla="*/ 39767 h 461851"/>
                <a:gd name="connsiteX64" fmla="*/ 365543 w 605028"/>
                <a:gd name="connsiteY64" fmla="*/ 0 h 461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5028" h="461851">
                  <a:moveTo>
                    <a:pt x="378825" y="263562"/>
                  </a:moveTo>
                  <a:lnTo>
                    <a:pt x="415301" y="263562"/>
                  </a:lnTo>
                  <a:lnTo>
                    <a:pt x="488533" y="305806"/>
                  </a:lnTo>
                  <a:lnTo>
                    <a:pt x="496497" y="291819"/>
                  </a:lnTo>
                  <a:lnTo>
                    <a:pt x="521761" y="335424"/>
                  </a:lnTo>
                  <a:lnTo>
                    <a:pt x="471507" y="335424"/>
                  </a:lnTo>
                  <a:lnTo>
                    <a:pt x="479471" y="321438"/>
                  </a:lnTo>
                  <a:close/>
                  <a:moveTo>
                    <a:pt x="323594" y="263562"/>
                  </a:moveTo>
                  <a:lnTo>
                    <a:pt x="344491" y="263562"/>
                  </a:lnTo>
                  <a:lnTo>
                    <a:pt x="415211" y="385611"/>
                  </a:lnTo>
                  <a:lnTo>
                    <a:pt x="429217" y="377658"/>
                  </a:lnTo>
                  <a:lnTo>
                    <a:pt x="429217" y="427845"/>
                  </a:lnTo>
                  <a:lnTo>
                    <a:pt x="385553" y="402888"/>
                  </a:lnTo>
                  <a:lnTo>
                    <a:pt x="399558" y="394661"/>
                  </a:lnTo>
                  <a:close/>
                  <a:moveTo>
                    <a:pt x="293558" y="263562"/>
                  </a:moveTo>
                  <a:lnTo>
                    <a:pt x="311682" y="263562"/>
                  </a:lnTo>
                  <a:lnTo>
                    <a:pt x="311682" y="418246"/>
                  </a:lnTo>
                  <a:lnTo>
                    <a:pt x="327610" y="418246"/>
                  </a:lnTo>
                  <a:lnTo>
                    <a:pt x="302620" y="461851"/>
                  </a:lnTo>
                  <a:lnTo>
                    <a:pt x="277356" y="418246"/>
                  </a:lnTo>
                  <a:lnTo>
                    <a:pt x="293558" y="418246"/>
                  </a:lnTo>
                  <a:close/>
                  <a:moveTo>
                    <a:pt x="260527" y="263562"/>
                  </a:moveTo>
                  <a:lnTo>
                    <a:pt x="281646" y="263562"/>
                  </a:lnTo>
                  <a:lnTo>
                    <a:pt x="205682" y="394661"/>
                  </a:lnTo>
                  <a:lnTo>
                    <a:pt x="219687" y="402888"/>
                  </a:lnTo>
                  <a:lnTo>
                    <a:pt x="176024" y="427845"/>
                  </a:lnTo>
                  <a:lnTo>
                    <a:pt x="176024" y="377658"/>
                  </a:lnTo>
                  <a:lnTo>
                    <a:pt x="190029" y="385611"/>
                  </a:lnTo>
                  <a:close/>
                  <a:moveTo>
                    <a:pt x="189665" y="263562"/>
                  </a:moveTo>
                  <a:lnTo>
                    <a:pt x="226233" y="263562"/>
                  </a:lnTo>
                  <a:lnTo>
                    <a:pt x="125769" y="321438"/>
                  </a:lnTo>
                  <a:lnTo>
                    <a:pt x="133733" y="335424"/>
                  </a:lnTo>
                  <a:lnTo>
                    <a:pt x="83479" y="335424"/>
                  </a:lnTo>
                  <a:lnTo>
                    <a:pt x="108469" y="291819"/>
                  </a:lnTo>
                  <a:lnTo>
                    <a:pt x="116433" y="305806"/>
                  </a:lnTo>
                  <a:close/>
                  <a:moveTo>
                    <a:pt x="311682" y="243003"/>
                  </a:moveTo>
                  <a:lnTo>
                    <a:pt x="323594" y="263562"/>
                  </a:lnTo>
                  <a:lnTo>
                    <a:pt x="311682" y="263562"/>
                  </a:lnTo>
                  <a:close/>
                  <a:moveTo>
                    <a:pt x="293558" y="243003"/>
                  </a:moveTo>
                  <a:lnTo>
                    <a:pt x="293558" y="263562"/>
                  </a:lnTo>
                  <a:lnTo>
                    <a:pt x="281646" y="263562"/>
                  </a:lnTo>
                  <a:close/>
                  <a:moveTo>
                    <a:pt x="327335" y="233953"/>
                  </a:moveTo>
                  <a:lnTo>
                    <a:pt x="378825" y="263562"/>
                  </a:lnTo>
                  <a:lnTo>
                    <a:pt x="344491" y="263562"/>
                  </a:lnTo>
                  <a:close/>
                  <a:moveTo>
                    <a:pt x="277630" y="233953"/>
                  </a:moveTo>
                  <a:lnTo>
                    <a:pt x="260527" y="263562"/>
                  </a:lnTo>
                  <a:lnTo>
                    <a:pt x="226233" y="263562"/>
                  </a:lnTo>
                  <a:close/>
                  <a:moveTo>
                    <a:pt x="365543" y="0"/>
                  </a:moveTo>
                  <a:cubicBezTo>
                    <a:pt x="428436" y="0"/>
                    <a:pt x="479793" y="48269"/>
                    <a:pt x="485560" y="109703"/>
                  </a:cubicBezTo>
                  <a:cubicBezTo>
                    <a:pt x="486110" y="109703"/>
                    <a:pt x="486384" y="109703"/>
                    <a:pt x="486659" y="109703"/>
                  </a:cubicBezTo>
                  <a:cubicBezTo>
                    <a:pt x="522637" y="109703"/>
                    <a:pt x="552847" y="133015"/>
                    <a:pt x="563283" y="165378"/>
                  </a:cubicBezTo>
                  <a:cubicBezTo>
                    <a:pt x="586902" y="169217"/>
                    <a:pt x="605028" y="189512"/>
                    <a:pt x="605028" y="214195"/>
                  </a:cubicBezTo>
                  <a:cubicBezTo>
                    <a:pt x="605028" y="241621"/>
                    <a:pt x="583057" y="263562"/>
                    <a:pt x="555593" y="263562"/>
                  </a:cubicBezTo>
                  <a:lnTo>
                    <a:pt x="415301" y="263562"/>
                  </a:lnTo>
                  <a:lnTo>
                    <a:pt x="336397" y="218047"/>
                  </a:lnTo>
                  <a:lnTo>
                    <a:pt x="268568" y="218047"/>
                  </a:lnTo>
                  <a:lnTo>
                    <a:pt x="189665" y="263562"/>
                  </a:lnTo>
                  <a:lnTo>
                    <a:pt x="49435" y="263562"/>
                  </a:lnTo>
                  <a:cubicBezTo>
                    <a:pt x="22246" y="263562"/>
                    <a:pt x="0" y="241621"/>
                    <a:pt x="0" y="214195"/>
                  </a:cubicBezTo>
                  <a:cubicBezTo>
                    <a:pt x="0" y="186770"/>
                    <a:pt x="22246" y="164829"/>
                    <a:pt x="49435" y="164829"/>
                  </a:cubicBezTo>
                  <a:cubicBezTo>
                    <a:pt x="49435" y="126159"/>
                    <a:pt x="80744" y="94893"/>
                    <a:pt x="119468" y="94893"/>
                  </a:cubicBezTo>
                  <a:cubicBezTo>
                    <a:pt x="128256" y="94893"/>
                    <a:pt x="136495" y="96539"/>
                    <a:pt x="144185" y="99556"/>
                  </a:cubicBezTo>
                  <a:cubicBezTo>
                    <a:pt x="145284" y="55949"/>
                    <a:pt x="180987" y="20844"/>
                    <a:pt x="224929" y="20844"/>
                  </a:cubicBezTo>
                  <a:cubicBezTo>
                    <a:pt x="244428" y="20844"/>
                    <a:pt x="262279" y="28249"/>
                    <a:pt x="276286" y="39767"/>
                  </a:cubicBezTo>
                  <a:cubicBezTo>
                    <a:pt x="298257" y="15358"/>
                    <a:pt x="330115" y="0"/>
                    <a:pt x="365543" y="0"/>
                  </a:cubicBezTo>
                  <a:close/>
                </a:path>
              </a:pathLst>
            </a:custGeom>
            <a:solidFill>
              <a:srgbClr val="03378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467" name="组合 46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/>
          <p:nvPr/>
        </p:nvGrpSpPr>
        <p:grpSpPr>
          <a:xfrm>
            <a:off x="6665720" y="573694"/>
            <a:ext cx="5291202" cy="5699126"/>
            <a:chOff x="2892426" y="-38100"/>
            <a:chExt cx="6403975" cy="6897688"/>
          </a:xfrm>
        </p:grpSpPr>
        <p:sp>
          <p:nvSpPr>
            <p:cNvPr id="468" name="íṧ1iḓe"/>
            <p:cNvSpPr/>
            <p:nvPr/>
          </p:nvSpPr>
          <p:spPr bwMode="auto">
            <a:xfrm>
              <a:off x="4581526" y="1143000"/>
              <a:ext cx="2654300" cy="3027363"/>
            </a:xfrm>
            <a:custGeom>
              <a:avLst/>
              <a:gdLst>
                <a:gd name="T0" fmla="*/ 1134 w 1672"/>
                <a:gd name="T1" fmla="*/ 0 h 1907"/>
                <a:gd name="T2" fmla="*/ 1134 w 1672"/>
                <a:gd name="T3" fmla="*/ 0 h 1907"/>
                <a:gd name="T4" fmla="*/ 1672 w 1672"/>
                <a:gd name="T5" fmla="*/ 1503 h 1907"/>
                <a:gd name="T6" fmla="*/ 538 w 1672"/>
                <a:gd name="T7" fmla="*/ 1907 h 1907"/>
                <a:gd name="T8" fmla="*/ 0 w 1672"/>
                <a:gd name="T9" fmla="*/ 405 h 1907"/>
                <a:gd name="T10" fmla="*/ 1134 w 1672"/>
                <a:gd name="T11" fmla="*/ 0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2" h="1907">
                  <a:moveTo>
                    <a:pt x="1134" y="0"/>
                  </a:moveTo>
                  <a:lnTo>
                    <a:pt x="1134" y="0"/>
                  </a:lnTo>
                  <a:lnTo>
                    <a:pt x="1672" y="1503"/>
                  </a:lnTo>
                  <a:lnTo>
                    <a:pt x="538" y="1907"/>
                  </a:lnTo>
                  <a:lnTo>
                    <a:pt x="0" y="405"/>
                  </a:lnTo>
                  <a:lnTo>
                    <a:pt x="1134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9" name="ï$ľídê"/>
            <p:cNvSpPr/>
            <p:nvPr/>
          </p:nvSpPr>
          <p:spPr bwMode="auto">
            <a:xfrm>
              <a:off x="5141913" y="2206625"/>
              <a:ext cx="1428750" cy="571500"/>
            </a:xfrm>
            <a:custGeom>
              <a:avLst/>
              <a:gdLst>
                <a:gd name="T0" fmla="*/ 0 w 900"/>
                <a:gd name="T1" fmla="*/ 315 h 360"/>
                <a:gd name="T2" fmla="*/ 885 w 900"/>
                <a:gd name="T3" fmla="*/ 0 h 360"/>
                <a:gd name="T4" fmla="*/ 900 w 900"/>
                <a:gd name="T5" fmla="*/ 44 h 360"/>
                <a:gd name="T6" fmla="*/ 16 w 900"/>
                <a:gd name="T7" fmla="*/ 360 h 360"/>
                <a:gd name="T8" fmla="*/ 0 w 900"/>
                <a:gd name="T9" fmla="*/ 31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0" h="360">
                  <a:moveTo>
                    <a:pt x="0" y="315"/>
                  </a:moveTo>
                  <a:lnTo>
                    <a:pt x="885" y="0"/>
                  </a:lnTo>
                  <a:lnTo>
                    <a:pt x="900" y="44"/>
                  </a:lnTo>
                  <a:lnTo>
                    <a:pt x="16" y="360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0" name="íSļïḓe"/>
            <p:cNvSpPr/>
            <p:nvPr/>
          </p:nvSpPr>
          <p:spPr bwMode="auto">
            <a:xfrm>
              <a:off x="5257801" y="2530475"/>
              <a:ext cx="1430338" cy="571500"/>
            </a:xfrm>
            <a:custGeom>
              <a:avLst/>
              <a:gdLst>
                <a:gd name="T0" fmla="*/ 0 w 901"/>
                <a:gd name="T1" fmla="*/ 316 h 360"/>
                <a:gd name="T2" fmla="*/ 885 w 901"/>
                <a:gd name="T3" fmla="*/ 0 h 360"/>
                <a:gd name="T4" fmla="*/ 901 w 901"/>
                <a:gd name="T5" fmla="*/ 45 h 360"/>
                <a:gd name="T6" fmla="*/ 16 w 901"/>
                <a:gd name="T7" fmla="*/ 360 h 360"/>
                <a:gd name="T8" fmla="*/ 0 w 901"/>
                <a:gd name="T9" fmla="*/ 31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1" h="360">
                  <a:moveTo>
                    <a:pt x="0" y="316"/>
                  </a:moveTo>
                  <a:lnTo>
                    <a:pt x="885" y="0"/>
                  </a:lnTo>
                  <a:lnTo>
                    <a:pt x="901" y="45"/>
                  </a:lnTo>
                  <a:lnTo>
                    <a:pt x="16" y="360"/>
                  </a:lnTo>
                  <a:lnTo>
                    <a:pt x="0" y="31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1" name="iṡľiḍé"/>
            <p:cNvSpPr/>
            <p:nvPr/>
          </p:nvSpPr>
          <p:spPr bwMode="auto">
            <a:xfrm>
              <a:off x="5373688" y="2855913"/>
              <a:ext cx="1430338" cy="571500"/>
            </a:xfrm>
            <a:custGeom>
              <a:avLst/>
              <a:gdLst>
                <a:gd name="T0" fmla="*/ 0 w 901"/>
                <a:gd name="T1" fmla="*/ 315 h 360"/>
                <a:gd name="T2" fmla="*/ 885 w 901"/>
                <a:gd name="T3" fmla="*/ 0 h 360"/>
                <a:gd name="T4" fmla="*/ 901 w 901"/>
                <a:gd name="T5" fmla="*/ 44 h 360"/>
                <a:gd name="T6" fmla="*/ 16 w 901"/>
                <a:gd name="T7" fmla="*/ 360 h 360"/>
                <a:gd name="T8" fmla="*/ 0 w 901"/>
                <a:gd name="T9" fmla="*/ 31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1" h="360">
                  <a:moveTo>
                    <a:pt x="0" y="315"/>
                  </a:moveTo>
                  <a:lnTo>
                    <a:pt x="885" y="0"/>
                  </a:lnTo>
                  <a:lnTo>
                    <a:pt x="901" y="44"/>
                  </a:lnTo>
                  <a:lnTo>
                    <a:pt x="16" y="360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2" name="îṣlïḑé"/>
            <p:cNvSpPr/>
            <p:nvPr/>
          </p:nvSpPr>
          <p:spPr bwMode="auto">
            <a:xfrm>
              <a:off x="5489576" y="3182938"/>
              <a:ext cx="1430338" cy="568325"/>
            </a:xfrm>
            <a:custGeom>
              <a:avLst/>
              <a:gdLst>
                <a:gd name="T0" fmla="*/ 0 w 901"/>
                <a:gd name="T1" fmla="*/ 314 h 358"/>
                <a:gd name="T2" fmla="*/ 885 w 901"/>
                <a:gd name="T3" fmla="*/ 0 h 358"/>
                <a:gd name="T4" fmla="*/ 901 w 901"/>
                <a:gd name="T5" fmla="*/ 43 h 358"/>
                <a:gd name="T6" fmla="*/ 16 w 901"/>
                <a:gd name="T7" fmla="*/ 358 h 358"/>
                <a:gd name="T8" fmla="*/ 0 w 901"/>
                <a:gd name="T9" fmla="*/ 31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1" h="358">
                  <a:moveTo>
                    <a:pt x="0" y="314"/>
                  </a:moveTo>
                  <a:lnTo>
                    <a:pt x="885" y="0"/>
                  </a:lnTo>
                  <a:lnTo>
                    <a:pt x="901" y="43"/>
                  </a:lnTo>
                  <a:lnTo>
                    <a:pt x="16" y="358"/>
                  </a:lnTo>
                  <a:lnTo>
                    <a:pt x="0" y="31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3" name="íš1ïḑê"/>
            <p:cNvSpPr/>
            <p:nvPr/>
          </p:nvSpPr>
          <p:spPr bwMode="auto">
            <a:xfrm>
              <a:off x="5024438" y="1881188"/>
              <a:ext cx="1430338" cy="571500"/>
            </a:xfrm>
            <a:custGeom>
              <a:avLst/>
              <a:gdLst>
                <a:gd name="T0" fmla="*/ 0 w 901"/>
                <a:gd name="T1" fmla="*/ 316 h 360"/>
                <a:gd name="T2" fmla="*/ 886 w 901"/>
                <a:gd name="T3" fmla="*/ 0 h 360"/>
                <a:gd name="T4" fmla="*/ 901 w 901"/>
                <a:gd name="T5" fmla="*/ 45 h 360"/>
                <a:gd name="T6" fmla="*/ 16 w 901"/>
                <a:gd name="T7" fmla="*/ 360 h 360"/>
                <a:gd name="T8" fmla="*/ 0 w 901"/>
                <a:gd name="T9" fmla="*/ 31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1" h="360">
                  <a:moveTo>
                    <a:pt x="0" y="316"/>
                  </a:moveTo>
                  <a:lnTo>
                    <a:pt x="886" y="0"/>
                  </a:lnTo>
                  <a:lnTo>
                    <a:pt x="901" y="45"/>
                  </a:lnTo>
                  <a:lnTo>
                    <a:pt x="16" y="360"/>
                  </a:lnTo>
                  <a:lnTo>
                    <a:pt x="0" y="31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4" name="iṧḻídê"/>
            <p:cNvSpPr/>
            <p:nvPr/>
          </p:nvSpPr>
          <p:spPr bwMode="auto">
            <a:xfrm>
              <a:off x="4908551" y="1557338"/>
              <a:ext cx="1430338" cy="571500"/>
            </a:xfrm>
            <a:custGeom>
              <a:avLst/>
              <a:gdLst>
                <a:gd name="T0" fmla="*/ 0 w 901"/>
                <a:gd name="T1" fmla="*/ 315 h 360"/>
                <a:gd name="T2" fmla="*/ 886 w 901"/>
                <a:gd name="T3" fmla="*/ 0 h 360"/>
                <a:gd name="T4" fmla="*/ 901 w 901"/>
                <a:gd name="T5" fmla="*/ 44 h 360"/>
                <a:gd name="T6" fmla="*/ 16 w 901"/>
                <a:gd name="T7" fmla="*/ 360 h 360"/>
                <a:gd name="T8" fmla="*/ 0 w 901"/>
                <a:gd name="T9" fmla="*/ 31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1" h="360">
                  <a:moveTo>
                    <a:pt x="0" y="315"/>
                  </a:moveTo>
                  <a:lnTo>
                    <a:pt x="886" y="0"/>
                  </a:lnTo>
                  <a:lnTo>
                    <a:pt x="901" y="44"/>
                  </a:lnTo>
                  <a:lnTo>
                    <a:pt x="16" y="360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5" name="íS1íḓè"/>
            <p:cNvSpPr/>
            <p:nvPr/>
          </p:nvSpPr>
          <p:spPr bwMode="auto">
            <a:xfrm>
              <a:off x="6326188" y="1600200"/>
              <a:ext cx="2406650" cy="2982913"/>
            </a:xfrm>
            <a:custGeom>
              <a:avLst/>
              <a:gdLst>
                <a:gd name="T0" fmla="*/ 1516 w 1516"/>
                <a:gd name="T1" fmla="*/ 171 h 1879"/>
                <a:gd name="T2" fmla="*/ 1516 w 1516"/>
                <a:gd name="T3" fmla="*/ 171 h 1879"/>
                <a:gd name="T4" fmla="*/ 1287 w 1516"/>
                <a:gd name="T5" fmla="*/ 1879 h 1879"/>
                <a:gd name="T6" fmla="*/ 0 w 1516"/>
                <a:gd name="T7" fmla="*/ 1707 h 1879"/>
                <a:gd name="T8" fmla="*/ 229 w 1516"/>
                <a:gd name="T9" fmla="*/ 0 h 1879"/>
                <a:gd name="T10" fmla="*/ 1516 w 1516"/>
                <a:gd name="T11" fmla="*/ 171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6" h="1879">
                  <a:moveTo>
                    <a:pt x="1516" y="171"/>
                  </a:moveTo>
                  <a:lnTo>
                    <a:pt x="1516" y="171"/>
                  </a:lnTo>
                  <a:lnTo>
                    <a:pt x="1287" y="1879"/>
                  </a:lnTo>
                  <a:lnTo>
                    <a:pt x="0" y="1707"/>
                  </a:lnTo>
                  <a:lnTo>
                    <a:pt x="229" y="0"/>
                  </a:lnTo>
                  <a:lnTo>
                    <a:pt x="1516" y="1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6" name="îsḻîďè"/>
            <p:cNvSpPr/>
            <p:nvPr/>
          </p:nvSpPr>
          <p:spPr bwMode="auto">
            <a:xfrm>
              <a:off x="6757988" y="2760663"/>
              <a:ext cx="1604963" cy="295275"/>
            </a:xfrm>
            <a:custGeom>
              <a:avLst/>
              <a:gdLst>
                <a:gd name="T0" fmla="*/ 6 w 1011"/>
                <a:gd name="T1" fmla="*/ 0 h 186"/>
                <a:gd name="T2" fmla="*/ 1011 w 1011"/>
                <a:gd name="T3" fmla="*/ 135 h 186"/>
                <a:gd name="T4" fmla="*/ 1004 w 1011"/>
                <a:gd name="T5" fmla="*/ 186 h 186"/>
                <a:gd name="T6" fmla="*/ 0 w 1011"/>
                <a:gd name="T7" fmla="*/ 51 h 186"/>
                <a:gd name="T8" fmla="*/ 6 w 1011"/>
                <a:gd name="T9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1" h="186">
                  <a:moveTo>
                    <a:pt x="6" y="0"/>
                  </a:moveTo>
                  <a:lnTo>
                    <a:pt x="1011" y="135"/>
                  </a:lnTo>
                  <a:lnTo>
                    <a:pt x="1004" y="186"/>
                  </a:lnTo>
                  <a:lnTo>
                    <a:pt x="0" y="5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7" name="ïṡľíḍe"/>
            <p:cNvSpPr/>
            <p:nvPr/>
          </p:nvSpPr>
          <p:spPr bwMode="auto">
            <a:xfrm>
              <a:off x="6707188" y="3132138"/>
              <a:ext cx="1606550" cy="292100"/>
            </a:xfrm>
            <a:custGeom>
              <a:avLst/>
              <a:gdLst>
                <a:gd name="T0" fmla="*/ 7 w 1012"/>
                <a:gd name="T1" fmla="*/ 0 h 184"/>
                <a:gd name="T2" fmla="*/ 1012 w 1012"/>
                <a:gd name="T3" fmla="*/ 133 h 184"/>
                <a:gd name="T4" fmla="*/ 1005 w 1012"/>
                <a:gd name="T5" fmla="*/ 184 h 184"/>
                <a:gd name="T6" fmla="*/ 0 w 1012"/>
                <a:gd name="T7" fmla="*/ 49 h 184"/>
                <a:gd name="T8" fmla="*/ 7 w 1012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184">
                  <a:moveTo>
                    <a:pt x="7" y="0"/>
                  </a:moveTo>
                  <a:lnTo>
                    <a:pt x="1012" y="133"/>
                  </a:lnTo>
                  <a:lnTo>
                    <a:pt x="1005" y="184"/>
                  </a:lnTo>
                  <a:lnTo>
                    <a:pt x="0" y="49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8" name="ïSḷîḓe"/>
            <p:cNvSpPr/>
            <p:nvPr/>
          </p:nvSpPr>
          <p:spPr bwMode="auto">
            <a:xfrm>
              <a:off x="6657976" y="3500438"/>
              <a:ext cx="1606550" cy="292100"/>
            </a:xfrm>
            <a:custGeom>
              <a:avLst/>
              <a:gdLst>
                <a:gd name="T0" fmla="*/ 7 w 1012"/>
                <a:gd name="T1" fmla="*/ 0 h 184"/>
                <a:gd name="T2" fmla="*/ 1012 w 1012"/>
                <a:gd name="T3" fmla="*/ 133 h 184"/>
                <a:gd name="T4" fmla="*/ 1005 w 1012"/>
                <a:gd name="T5" fmla="*/ 184 h 184"/>
                <a:gd name="T6" fmla="*/ 0 w 1012"/>
                <a:gd name="T7" fmla="*/ 50 h 184"/>
                <a:gd name="T8" fmla="*/ 7 w 1012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184">
                  <a:moveTo>
                    <a:pt x="7" y="0"/>
                  </a:moveTo>
                  <a:lnTo>
                    <a:pt x="1012" y="133"/>
                  </a:lnTo>
                  <a:lnTo>
                    <a:pt x="1005" y="184"/>
                  </a:lnTo>
                  <a:lnTo>
                    <a:pt x="0" y="5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9" name="ïṥľïḓê"/>
            <p:cNvSpPr/>
            <p:nvPr/>
          </p:nvSpPr>
          <p:spPr bwMode="auto">
            <a:xfrm>
              <a:off x="6608763" y="3868738"/>
              <a:ext cx="1606550" cy="292100"/>
            </a:xfrm>
            <a:custGeom>
              <a:avLst/>
              <a:gdLst>
                <a:gd name="T0" fmla="*/ 7 w 1012"/>
                <a:gd name="T1" fmla="*/ 0 h 184"/>
                <a:gd name="T2" fmla="*/ 1012 w 1012"/>
                <a:gd name="T3" fmla="*/ 134 h 184"/>
                <a:gd name="T4" fmla="*/ 1005 w 1012"/>
                <a:gd name="T5" fmla="*/ 184 h 184"/>
                <a:gd name="T6" fmla="*/ 0 w 1012"/>
                <a:gd name="T7" fmla="*/ 50 h 184"/>
                <a:gd name="T8" fmla="*/ 7 w 1012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184">
                  <a:moveTo>
                    <a:pt x="7" y="0"/>
                  </a:moveTo>
                  <a:lnTo>
                    <a:pt x="1012" y="134"/>
                  </a:lnTo>
                  <a:lnTo>
                    <a:pt x="1005" y="184"/>
                  </a:lnTo>
                  <a:lnTo>
                    <a:pt x="0" y="5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0" name="işlíḓè"/>
            <p:cNvSpPr/>
            <p:nvPr/>
          </p:nvSpPr>
          <p:spPr bwMode="auto">
            <a:xfrm>
              <a:off x="6807201" y="2392363"/>
              <a:ext cx="1604963" cy="292100"/>
            </a:xfrm>
            <a:custGeom>
              <a:avLst/>
              <a:gdLst>
                <a:gd name="T0" fmla="*/ 7 w 1011"/>
                <a:gd name="T1" fmla="*/ 0 h 184"/>
                <a:gd name="T2" fmla="*/ 1011 w 1011"/>
                <a:gd name="T3" fmla="*/ 135 h 184"/>
                <a:gd name="T4" fmla="*/ 1004 w 1011"/>
                <a:gd name="T5" fmla="*/ 184 h 184"/>
                <a:gd name="T6" fmla="*/ 0 w 1011"/>
                <a:gd name="T7" fmla="*/ 51 h 184"/>
                <a:gd name="T8" fmla="*/ 7 w 1011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1" h="184">
                  <a:moveTo>
                    <a:pt x="7" y="0"/>
                  </a:moveTo>
                  <a:lnTo>
                    <a:pt x="1011" y="135"/>
                  </a:lnTo>
                  <a:lnTo>
                    <a:pt x="1004" y="184"/>
                  </a:lnTo>
                  <a:lnTo>
                    <a:pt x="0" y="5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1" name="í$ḻïḋè"/>
            <p:cNvSpPr/>
            <p:nvPr/>
          </p:nvSpPr>
          <p:spPr bwMode="auto">
            <a:xfrm>
              <a:off x="6856413" y="2024063"/>
              <a:ext cx="1603375" cy="292100"/>
            </a:xfrm>
            <a:custGeom>
              <a:avLst/>
              <a:gdLst>
                <a:gd name="T0" fmla="*/ 7 w 1010"/>
                <a:gd name="T1" fmla="*/ 0 h 184"/>
                <a:gd name="T2" fmla="*/ 1010 w 1010"/>
                <a:gd name="T3" fmla="*/ 134 h 184"/>
                <a:gd name="T4" fmla="*/ 1004 w 1010"/>
                <a:gd name="T5" fmla="*/ 184 h 184"/>
                <a:gd name="T6" fmla="*/ 0 w 1010"/>
                <a:gd name="T7" fmla="*/ 51 h 184"/>
                <a:gd name="T8" fmla="*/ 7 w 1010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0" h="184">
                  <a:moveTo>
                    <a:pt x="7" y="0"/>
                  </a:moveTo>
                  <a:lnTo>
                    <a:pt x="1010" y="134"/>
                  </a:lnTo>
                  <a:lnTo>
                    <a:pt x="1004" y="184"/>
                  </a:lnTo>
                  <a:lnTo>
                    <a:pt x="0" y="5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2" name="ïṧ1îde"/>
            <p:cNvSpPr/>
            <p:nvPr/>
          </p:nvSpPr>
          <p:spPr bwMode="auto">
            <a:xfrm>
              <a:off x="6838951" y="2128838"/>
              <a:ext cx="1508125" cy="1384300"/>
            </a:xfrm>
            <a:custGeom>
              <a:avLst/>
              <a:gdLst>
                <a:gd name="T0" fmla="*/ 131 w 831"/>
                <a:gd name="T1" fmla="*/ 703 h 763"/>
                <a:gd name="T2" fmla="*/ 637 w 831"/>
                <a:gd name="T3" fmla="*/ 755 h 763"/>
                <a:gd name="T4" fmla="*/ 789 w 831"/>
                <a:gd name="T5" fmla="*/ 632 h 763"/>
                <a:gd name="T6" fmla="*/ 811 w 831"/>
                <a:gd name="T7" fmla="*/ 417 h 763"/>
                <a:gd name="T8" fmla="*/ 495 w 831"/>
                <a:gd name="T9" fmla="*/ 28 h 763"/>
                <a:gd name="T10" fmla="*/ 419 w 831"/>
                <a:gd name="T11" fmla="*/ 20 h 763"/>
                <a:gd name="T12" fmla="*/ 30 w 831"/>
                <a:gd name="T13" fmla="*/ 337 h 763"/>
                <a:gd name="T14" fmla="*/ 8 w 831"/>
                <a:gd name="T15" fmla="*/ 552 h 763"/>
                <a:gd name="T16" fmla="*/ 131 w 831"/>
                <a:gd name="T17" fmla="*/ 703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1" h="763">
                  <a:moveTo>
                    <a:pt x="131" y="703"/>
                  </a:moveTo>
                  <a:cubicBezTo>
                    <a:pt x="637" y="755"/>
                    <a:pt x="637" y="755"/>
                    <a:pt x="637" y="755"/>
                  </a:cubicBezTo>
                  <a:cubicBezTo>
                    <a:pt x="713" y="763"/>
                    <a:pt x="781" y="708"/>
                    <a:pt x="789" y="632"/>
                  </a:cubicBezTo>
                  <a:cubicBezTo>
                    <a:pt x="811" y="417"/>
                    <a:pt x="811" y="417"/>
                    <a:pt x="811" y="417"/>
                  </a:cubicBezTo>
                  <a:cubicBezTo>
                    <a:pt x="831" y="223"/>
                    <a:pt x="689" y="48"/>
                    <a:pt x="495" y="28"/>
                  </a:cubicBezTo>
                  <a:cubicBezTo>
                    <a:pt x="419" y="20"/>
                    <a:pt x="419" y="20"/>
                    <a:pt x="419" y="20"/>
                  </a:cubicBezTo>
                  <a:cubicBezTo>
                    <a:pt x="225" y="0"/>
                    <a:pt x="50" y="143"/>
                    <a:pt x="30" y="337"/>
                  </a:cubicBezTo>
                  <a:cubicBezTo>
                    <a:pt x="8" y="552"/>
                    <a:pt x="8" y="552"/>
                    <a:pt x="8" y="552"/>
                  </a:cubicBezTo>
                  <a:cubicBezTo>
                    <a:pt x="0" y="627"/>
                    <a:pt x="56" y="695"/>
                    <a:pt x="131" y="703"/>
                  </a:cubicBezTo>
                  <a:close/>
                </a:path>
              </a:pathLst>
            </a:custGeom>
            <a:solidFill>
              <a:srgbClr val="363F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3" name="íṣľîḍe"/>
            <p:cNvSpPr/>
            <p:nvPr/>
          </p:nvSpPr>
          <p:spPr bwMode="auto">
            <a:xfrm>
              <a:off x="6775451" y="3478213"/>
              <a:ext cx="1403350" cy="765175"/>
            </a:xfrm>
            <a:custGeom>
              <a:avLst/>
              <a:gdLst>
                <a:gd name="T0" fmla="*/ 767 w 773"/>
                <a:gd name="T1" fmla="*/ 374 h 422"/>
                <a:gd name="T2" fmla="*/ 466 w 773"/>
                <a:gd name="T3" fmla="*/ 28 h 422"/>
                <a:gd name="T4" fmla="*/ 365 w 773"/>
                <a:gd name="T5" fmla="*/ 18 h 422"/>
                <a:gd name="T6" fmla="*/ 0 w 773"/>
                <a:gd name="T7" fmla="*/ 295 h 422"/>
                <a:gd name="T8" fmla="*/ 376 w 773"/>
                <a:gd name="T9" fmla="*/ 408 h 422"/>
                <a:gd name="T10" fmla="*/ 767 w 773"/>
                <a:gd name="T11" fmla="*/ 37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3" h="422">
                  <a:moveTo>
                    <a:pt x="767" y="374"/>
                  </a:moveTo>
                  <a:cubicBezTo>
                    <a:pt x="773" y="200"/>
                    <a:pt x="642" y="47"/>
                    <a:pt x="466" y="28"/>
                  </a:cubicBezTo>
                  <a:cubicBezTo>
                    <a:pt x="365" y="18"/>
                    <a:pt x="365" y="18"/>
                    <a:pt x="365" y="18"/>
                  </a:cubicBezTo>
                  <a:cubicBezTo>
                    <a:pt x="189" y="0"/>
                    <a:pt x="29" y="123"/>
                    <a:pt x="0" y="295"/>
                  </a:cubicBezTo>
                  <a:cubicBezTo>
                    <a:pt x="111" y="354"/>
                    <a:pt x="239" y="394"/>
                    <a:pt x="376" y="408"/>
                  </a:cubicBezTo>
                  <a:cubicBezTo>
                    <a:pt x="513" y="422"/>
                    <a:pt x="646" y="409"/>
                    <a:pt x="767" y="374"/>
                  </a:cubicBezTo>
                  <a:close/>
                </a:path>
              </a:pathLst>
            </a:custGeom>
            <a:solidFill>
              <a:srgbClr val="E848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4" name="íṥlïḑe"/>
            <p:cNvSpPr/>
            <p:nvPr/>
          </p:nvSpPr>
          <p:spPr bwMode="auto">
            <a:xfrm>
              <a:off x="7256463" y="3505200"/>
              <a:ext cx="528638" cy="265113"/>
            </a:xfrm>
            <a:custGeom>
              <a:avLst/>
              <a:gdLst>
                <a:gd name="T0" fmla="*/ 291 w 291"/>
                <a:gd name="T1" fmla="*/ 36 h 146"/>
                <a:gd name="T2" fmla="*/ 201 w 291"/>
                <a:gd name="T3" fmla="*/ 13 h 146"/>
                <a:gd name="T4" fmla="*/ 100 w 291"/>
                <a:gd name="T5" fmla="*/ 3 h 146"/>
                <a:gd name="T6" fmla="*/ 7 w 291"/>
                <a:gd name="T7" fmla="*/ 6 h 146"/>
                <a:gd name="T8" fmla="*/ 6 w 291"/>
                <a:gd name="T9" fmla="*/ 20 h 146"/>
                <a:gd name="T10" fmla="*/ 96 w 291"/>
                <a:gd name="T11" fmla="*/ 132 h 146"/>
                <a:gd name="T12" fmla="*/ 179 w 291"/>
                <a:gd name="T13" fmla="*/ 140 h 146"/>
                <a:gd name="T14" fmla="*/ 290 w 291"/>
                <a:gd name="T15" fmla="*/ 49 h 146"/>
                <a:gd name="T16" fmla="*/ 291 w 291"/>
                <a:gd name="T17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146">
                  <a:moveTo>
                    <a:pt x="291" y="36"/>
                  </a:moveTo>
                  <a:cubicBezTo>
                    <a:pt x="263" y="24"/>
                    <a:pt x="233" y="16"/>
                    <a:pt x="201" y="1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68" y="0"/>
                    <a:pt x="37" y="1"/>
                    <a:pt x="7" y="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0" y="76"/>
                    <a:pt x="41" y="126"/>
                    <a:pt x="96" y="132"/>
                  </a:cubicBezTo>
                  <a:cubicBezTo>
                    <a:pt x="179" y="140"/>
                    <a:pt x="179" y="140"/>
                    <a:pt x="179" y="140"/>
                  </a:cubicBezTo>
                  <a:cubicBezTo>
                    <a:pt x="234" y="146"/>
                    <a:pt x="284" y="105"/>
                    <a:pt x="290" y="49"/>
                  </a:cubicBezTo>
                  <a:lnTo>
                    <a:pt x="291" y="36"/>
                  </a:lnTo>
                  <a:close/>
                </a:path>
              </a:pathLst>
            </a:custGeom>
            <a:solidFill>
              <a:srgbClr val="EE7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5" name="ïšľïḑê"/>
            <p:cNvSpPr/>
            <p:nvPr/>
          </p:nvSpPr>
          <p:spPr bwMode="auto">
            <a:xfrm>
              <a:off x="7316788" y="3163888"/>
              <a:ext cx="444500" cy="533400"/>
            </a:xfrm>
            <a:custGeom>
              <a:avLst/>
              <a:gdLst>
                <a:gd name="T0" fmla="*/ 76 w 245"/>
                <a:gd name="T1" fmla="*/ 283 h 294"/>
                <a:gd name="T2" fmla="*/ 141 w 245"/>
                <a:gd name="T3" fmla="*/ 290 h 294"/>
                <a:gd name="T4" fmla="*/ 228 w 245"/>
                <a:gd name="T5" fmla="*/ 218 h 294"/>
                <a:gd name="T6" fmla="*/ 241 w 245"/>
                <a:gd name="T7" fmla="*/ 99 h 294"/>
                <a:gd name="T8" fmla="*/ 169 w 245"/>
                <a:gd name="T9" fmla="*/ 11 h 294"/>
                <a:gd name="T10" fmla="*/ 105 w 245"/>
                <a:gd name="T11" fmla="*/ 4 h 294"/>
                <a:gd name="T12" fmla="*/ 17 w 245"/>
                <a:gd name="T13" fmla="*/ 76 h 294"/>
                <a:gd name="T14" fmla="*/ 5 w 245"/>
                <a:gd name="T15" fmla="*/ 195 h 294"/>
                <a:gd name="T16" fmla="*/ 76 w 245"/>
                <a:gd name="T17" fmla="*/ 2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5" h="294">
                  <a:moveTo>
                    <a:pt x="76" y="283"/>
                  </a:moveTo>
                  <a:cubicBezTo>
                    <a:pt x="141" y="290"/>
                    <a:pt x="141" y="290"/>
                    <a:pt x="141" y="290"/>
                  </a:cubicBezTo>
                  <a:cubicBezTo>
                    <a:pt x="184" y="294"/>
                    <a:pt x="224" y="262"/>
                    <a:pt x="228" y="218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45" y="55"/>
                    <a:pt x="213" y="15"/>
                    <a:pt x="169" y="11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61" y="0"/>
                    <a:pt x="22" y="32"/>
                    <a:pt x="17" y="76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0" y="239"/>
                    <a:pt x="32" y="278"/>
                    <a:pt x="76" y="283"/>
                  </a:cubicBezTo>
                  <a:close/>
                </a:path>
              </a:pathLst>
            </a:custGeom>
            <a:solidFill>
              <a:srgbClr val="F7C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6" name="iśļïďe"/>
            <p:cNvSpPr/>
            <p:nvPr/>
          </p:nvSpPr>
          <p:spPr bwMode="auto">
            <a:xfrm>
              <a:off x="7054851" y="2565400"/>
              <a:ext cx="1060450" cy="914400"/>
            </a:xfrm>
            <a:custGeom>
              <a:avLst/>
              <a:gdLst>
                <a:gd name="T0" fmla="*/ 580 w 584"/>
                <a:gd name="T1" fmla="*/ 93 h 504"/>
                <a:gd name="T2" fmla="*/ 581 w 584"/>
                <a:gd name="T3" fmla="*/ 183 h 504"/>
                <a:gd name="T4" fmla="*/ 265 w 584"/>
                <a:gd name="T5" fmla="*/ 488 h 504"/>
                <a:gd name="T6" fmla="*/ 19 w 584"/>
                <a:gd name="T7" fmla="*/ 126 h 504"/>
                <a:gd name="T8" fmla="*/ 39 w 584"/>
                <a:gd name="T9" fmla="*/ 37 h 504"/>
                <a:gd name="T10" fmla="*/ 315 w 584"/>
                <a:gd name="T11" fmla="*/ 10 h 504"/>
                <a:gd name="T12" fmla="*/ 580 w 584"/>
                <a:gd name="T13" fmla="*/ 93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4" h="504">
                  <a:moveTo>
                    <a:pt x="580" y="93"/>
                  </a:moveTo>
                  <a:cubicBezTo>
                    <a:pt x="583" y="122"/>
                    <a:pt x="584" y="152"/>
                    <a:pt x="581" y="183"/>
                  </a:cubicBezTo>
                  <a:cubicBezTo>
                    <a:pt x="561" y="368"/>
                    <a:pt x="421" y="504"/>
                    <a:pt x="265" y="488"/>
                  </a:cubicBezTo>
                  <a:cubicBezTo>
                    <a:pt x="110" y="472"/>
                    <a:pt x="0" y="310"/>
                    <a:pt x="19" y="126"/>
                  </a:cubicBezTo>
                  <a:cubicBezTo>
                    <a:pt x="22" y="95"/>
                    <a:pt x="29" y="65"/>
                    <a:pt x="39" y="37"/>
                  </a:cubicBezTo>
                  <a:cubicBezTo>
                    <a:pt x="113" y="11"/>
                    <a:pt x="210" y="0"/>
                    <a:pt x="315" y="10"/>
                  </a:cubicBezTo>
                  <a:cubicBezTo>
                    <a:pt x="419" y="21"/>
                    <a:pt x="512" y="52"/>
                    <a:pt x="580" y="93"/>
                  </a:cubicBezTo>
                  <a:close/>
                </a:path>
              </a:pathLst>
            </a:custGeom>
            <a:solidFill>
              <a:srgbClr val="F9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7" name="işḷíďe"/>
            <p:cNvSpPr/>
            <p:nvPr/>
          </p:nvSpPr>
          <p:spPr bwMode="auto">
            <a:xfrm>
              <a:off x="7823201" y="3290888"/>
              <a:ext cx="1038225" cy="822325"/>
            </a:xfrm>
            <a:custGeom>
              <a:avLst/>
              <a:gdLst>
                <a:gd name="T0" fmla="*/ 313 w 572"/>
                <a:gd name="T1" fmla="*/ 16 h 453"/>
                <a:gd name="T2" fmla="*/ 560 w 572"/>
                <a:gd name="T3" fmla="*/ 254 h 453"/>
                <a:gd name="T4" fmla="*/ 269 w 572"/>
                <a:gd name="T5" fmla="*/ 438 h 453"/>
                <a:gd name="T6" fmla="*/ 145 w 572"/>
                <a:gd name="T7" fmla="*/ 400 h 453"/>
                <a:gd name="T8" fmla="*/ 0 w 572"/>
                <a:gd name="T9" fmla="*/ 431 h 453"/>
                <a:gd name="T10" fmla="*/ 70 w 572"/>
                <a:gd name="T11" fmla="*/ 340 h 453"/>
                <a:gd name="T12" fmla="*/ 21 w 572"/>
                <a:gd name="T13" fmla="*/ 199 h 453"/>
                <a:gd name="T14" fmla="*/ 313 w 572"/>
                <a:gd name="T15" fmla="*/ 1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2" h="453">
                  <a:moveTo>
                    <a:pt x="313" y="16"/>
                  </a:moveTo>
                  <a:cubicBezTo>
                    <a:pt x="461" y="31"/>
                    <a:pt x="572" y="138"/>
                    <a:pt x="560" y="254"/>
                  </a:cubicBezTo>
                  <a:cubicBezTo>
                    <a:pt x="548" y="371"/>
                    <a:pt x="418" y="453"/>
                    <a:pt x="269" y="438"/>
                  </a:cubicBezTo>
                  <a:cubicBezTo>
                    <a:pt x="223" y="433"/>
                    <a:pt x="181" y="419"/>
                    <a:pt x="145" y="400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70" y="340"/>
                    <a:pt x="70" y="340"/>
                    <a:pt x="70" y="340"/>
                  </a:cubicBezTo>
                  <a:cubicBezTo>
                    <a:pt x="35" y="300"/>
                    <a:pt x="16" y="250"/>
                    <a:pt x="21" y="199"/>
                  </a:cubicBezTo>
                  <a:cubicBezTo>
                    <a:pt x="33" y="82"/>
                    <a:pt x="164" y="0"/>
                    <a:pt x="313" y="16"/>
                  </a:cubicBezTo>
                  <a:close/>
                </a:path>
              </a:pathLst>
            </a:custGeom>
            <a:solidFill>
              <a:srgbClr val="0246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8" name="i$ľíḋe"/>
            <p:cNvSpPr/>
            <p:nvPr/>
          </p:nvSpPr>
          <p:spPr bwMode="auto">
            <a:xfrm>
              <a:off x="8118476" y="3187700"/>
              <a:ext cx="1177925" cy="790575"/>
            </a:xfrm>
            <a:custGeom>
              <a:avLst/>
              <a:gdLst>
                <a:gd name="T0" fmla="*/ 0 w 742"/>
                <a:gd name="T1" fmla="*/ 187 h 498"/>
                <a:gd name="T2" fmla="*/ 92 w 742"/>
                <a:gd name="T3" fmla="*/ 498 h 498"/>
                <a:gd name="T4" fmla="*/ 742 w 742"/>
                <a:gd name="T5" fmla="*/ 0 h 498"/>
                <a:gd name="T6" fmla="*/ 134 w 742"/>
                <a:gd name="T7" fmla="*/ 325 h 498"/>
                <a:gd name="T8" fmla="*/ 0 w 742"/>
                <a:gd name="T9" fmla="*/ 187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498">
                  <a:moveTo>
                    <a:pt x="0" y="187"/>
                  </a:moveTo>
                  <a:lnTo>
                    <a:pt x="92" y="498"/>
                  </a:lnTo>
                  <a:lnTo>
                    <a:pt x="742" y="0"/>
                  </a:lnTo>
                  <a:lnTo>
                    <a:pt x="134" y="325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9" name="îṡľiḋe"/>
            <p:cNvSpPr/>
            <p:nvPr/>
          </p:nvSpPr>
          <p:spPr bwMode="auto">
            <a:xfrm>
              <a:off x="7162801" y="1333500"/>
              <a:ext cx="249238" cy="357188"/>
            </a:xfrm>
            <a:custGeom>
              <a:avLst/>
              <a:gdLst>
                <a:gd name="T0" fmla="*/ 0 w 157"/>
                <a:gd name="T1" fmla="*/ 207 h 225"/>
                <a:gd name="T2" fmla="*/ 129 w 157"/>
                <a:gd name="T3" fmla="*/ 225 h 225"/>
                <a:gd name="T4" fmla="*/ 157 w 157"/>
                <a:gd name="T5" fmla="*/ 18 h 225"/>
                <a:gd name="T6" fmla="*/ 29 w 157"/>
                <a:gd name="T7" fmla="*/ 0 h 225"/>
                <a:gd name="T8" fmla="*/ 0 w 157"/>
                <a:gd name="T9" fmla="*/ 20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25">
                  <a:moveTo>
                    <a:pt x="0" y="207"/>
                  </a:moveTo>
                  <a:lnTo>
                    <a:pt x="129" y="225"/>
                  </a:lnTo>
                  <a:lnTo>
                    <a:pt x="157" y="18"/>
                  </a:lnTo>
                  <a:lnTo>
                    <a:pt x="29" y="0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0246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0" name="iṥļïďè"/>
            <p:cNvSpPr/>
            <p:nvPr/>
          </p:nvSpPr>
          <p:spPr bwMode="auto">
            <a:xfrm>
              <a:off x="7367588" y="1143000"/>
              <a:ext cx="277813" cy="574675"/>
            </a:xfrm>
            <a:custGeom>
              <a:avLst/>
              <a:gdLst>
                <a:gd name="T0" fmla="*/ 128 w 175"/>
                <a:gd name="T1" fmla="*/ 362 h 362"/>
                <a:gd name="T2" fmla="*/ 0 w 175"/>
                <a:gd name="T3" fmla="*/ 345 h 362"/>
                <a:gd name="T4" fmla="*/ 46 w 175"/>
                <a:gd name="T5" fmla="*/ 0 h 362"/>
                <a:gd name="T6" fmla="*/ 175 w 175"/>
                <a:gd name="T7" fmla="*/ 18 h 362"/>
                <a:gd name="T8" fmla="*/ 128 w 175"/>
                <a:gd name="T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362">
                  <a:moveTo>
                    <a:pt x="128" y="362"/>
                  </a:moveTo>
                  <a:lnTo>
                    <a:pt x="0" y="345"/>
                  </a:lnTo>
                  <a:lnTo>
                    <a:pt x="46" y="0"/>
                  </a:lnTo>
                  <a:lnTo>
                    <a:pt x="175" y="18"/>
                  </a:lnTo>
                  <a:lnTo>
                    <a:pt x="128" y="362"/>
                  </a:lnTo>
                  <a:close/>
                </a:path>
              </a:pathLst>
            </a:custGeom>
            <a:solidFill>
              <a:srgbClr val="3DD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1" name="iṧliḍê"/>
            <p:cNvSpPr/>
            <p:nvPr/>
          </p:nvSpPr>
          <p:spPr bwMode="auto">
            <a:xfrm>
              <a:off x="7570788" y="954088"/>
              <a:ext cx="307975" cy="790575"/>
            </a:xfrm>
            <a:custGeom>
              <a:avLst/>
              <a:gdLst>
                <a:gd name="T0" fmla="*/ 0 w 194"/>
                <a:gd name="T1" fmla="*/ 481 h 498"/>
                <a:gd name="T2" fmla="*/ 128 w 194"/>
                <a:gd name="T3" fmla="*/ 498 h 498"/>
                <a:gd name="T4" fmla="*/ 194 w 194"/>
                <a:gd name="T5" fmla="*/ 17 h 498"/>
                <a:gd name="T6" fmla="*/ 66 w 194"/>
                <a:gd name="T7" fmla="*/ 0 h 498"/>
                <a:gd name="T8" fmla="*/ 0 w 194"/>
                <a:gd name="T9" fmla="*/ 481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498">
                  <a:moveTo>
                    <a:pt x="0" y="481"/>
                  </a:moveTo>
                  <a:lnTo>
                    <a:pt x="128" y="498"/>
                  </a:lnTo>
                  <a:lnTo>
                    <a:pt x="194" y="17"/>
                  </a:lnTo>
                  <a:lnTo>
                    <a:pt x="66" y="0"/>
                  </a:lnTo>
                  <a:lnTo>
                    <a:pt x="0" y="481"/>
                  </a:lnTo>
                  <a:close/>
                </a:path>
              </a:pathLst>
            </a:custGeom>
            <a:solidFill>
              <a:srgbClr val="0246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2" name="îṥļiḑé"/>
            <p:cNvSpPr/>
            <p:nvPr/>
          </p:nvSpPr>
          <p:spPr bwMode="auto">
            <a:xfrm>
              <a:off x="7773988" y="625475"/>
              <a:ext cx="355600" cy="1147763"/>
            </a:xfrm>
            <a:custGeom>
              <a:avLst/>
              <a:gdLst>
                <a:gd name="T0" fmla="*/ 128 w 224"/>
                <a:gd name="T1" fmla="*/ 723 h 723"/>
                <a:gd name="T2" fmla="*/ 0 w 224"/>
                <a:gd name="T3" fmla="*/ 705 h 723"/>
                <a:gd name="T4" fmla="*/ 96 w 224"/>
                <a:gd name="T5" fmla="*/ 0 h 723"/>
                <a:gd name="T6" fmla="*/ 224 w 224"/>
                <a:gd name="T7" fmla="*/ 17 h 723"/>
                <a:gd name="T8" fmla="*/ 128 w 224"/>
                <a:gd name="T9" fmla="*/ 723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723">
                  <a:moveTo>
                    <a:pt x="128" y="723"/>
                  </a:moveTo>
                  <a:lnTo>
                    <a:pt x="0" y="705"/>
                  </a:lnTo>
                  <a:lnTo>
                    <a:pt x="96" y="0"/>
                  </a:lnTo>
                  <a:lnTo>
                    <a:pt x="224" y="17"/>
                  </a:lnTo>
                  <a:lnTo>
                    <a:pt x="128" y="723"/>
                  </a:lnTo>
                  <a:close/>
                </a:path>
              </a:pathLst>
            </a:custGeom>
            <a:solidFill>
              <a:srgbClr val="3DD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3" name="işļiḓè"/>
            <p:cNvSpPr/>
            <p:nvPr/>
          </p:nvSpPr>
          <p:spPr bwMode="auto">
            <a:xfrm>
              <a:off x="6959601" y="1471613"/>
              <a:ext cx="225425" cy="190500"/>
            </a:xfrm>
            <a:custGeom>
              <a:avLst/>
              <a:gdLst>
                <a:gd name="T0" fmla="*/ 128 w 142"/>
                <a:gd name="T1" fmla="*/ 120 h 120"/>
                <a:gd name="T2" fmla="*/ 0 w 142"/>
                <a:gd name="T3" fmla="*/ 103 h 120"/>
                <a:gd name="T4" fmla="*/ 15 w 142"/>
                <a:gd name="T5" fmla="*/ 0 h 120"/>
                <a:gd name="T6" fmla="*/ 142 w 142"/>
                <a:gd name="T7" fmla="*/ 17 h 120"/>
                <a:gd name="T8" fmla="*/ 128 w 142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20">
                  <a:moveTo>
                    <a:pt x="128" y="120"/>
                  </a:moveTo>
                  <a:lnTo>
                    <a:pt x="0" y="103"/>
                  </a:lnTo>
                  <a:lnTo>
                    <a:pt x="15" y="0"/>
                  </a:lnTo>
                  <a:lnTo>
                    <a:pt x="142" y="17"/>
                  </a:lnTo>
                  <a:lnTo>
                    <a:pt x="128" y="120"/>
                  </a:lnTo>
                  <a:close/>
                </a:path>
              </a:pathLst>
            </a:custGeom>
            <a:solidFill>
              <a:srgbClr val="3DD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4" name="îṣļiḍe"/>
            <p:cNvSpPr/>
            <p:nvPr/>
          </p:nvSpPr>
          <p:spPr bwMode="auto">
            <a:xfrm>
              <a:off x="6756401" y="1539875"/>
              <a:ext cx="212725" cy="95250"/>
            </a:xfrm>
            <a:custGeom>
              <a:avLst/>
              <a:gdLst>
                <a:gd name="T0" fmla="*/ 0 w 134"/>
                <a:gd name="T1" fmla="*/ 43 h 60"/>
                <a:gd name="T2" fmla="*/ 128 w 134"/>
                <a:gd name="T3" fmla="*/ 60 h 60"/>
                <a:gd name="T4" fmla="*/ 134 w 134"/>
                <a:gd name="T5" fmla="*/ 19 h 60"/>
                <a:gd name="T6" fmla="*/ 6 w 134"/>
                <a:gd name="T7" fmla="*/ 0 h 60"/>
                <a:gd name="T8" fmla="*/ 0 w 134"/>
                <a:gd name="T9" fmla="*/ 4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60">
                  <a:moveTo>
                    <a:pt x="0" y="43"/>
                  </a:moveTo>
                  <a:lnTo>
                    <a:pt x="128" y="60"/>
                  </a:lnTo>
                  <a:lnTo>
                    <a:pt x="134" y="19"/>
                  </a:lnTo>
                  <a:lnTo>
                    <a:pt x="6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0246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5" name="íş1íḓè"/>
            <p:cNvSpPr/>
            <p:nvPr/>
          </p:nvSpPr>
          <p:spPr bwMode="auto">
            <a:xfrm>
              <a:off x="2997201" y="5964238"/>
              <a:ext cx="3074988" cy="479425"/>
            </a:xfrm>
            <a:prstGeom prst="rect">
              <a:avLst/>
            </a:prstGeom>
            <a:solidFill>
              <a:srgbClr val="1F59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6" name="îṡ1íḋe"/>
            <p:cNvSpPr/>
            <p:nvPr/>
          </p:nvSpPr>
          <p:spPr bwMode="auto">
            <a:xfrm>
              <a:off x="3719513" y="5964238"/>
              <a:ext cx="1651000" cy="479425"/>
            </a:xfrm>
            <a:custGeom>
              <a:avLst/>
              <a:gdLst>
                <a:gd name="T0" fmla="*/ 0 w 1040"/>
                <a:gd name="T1" fmla="*/ 0 h 302"/>
                <a:gd name="T2" fmla="*/ 65 w 1040"/>
                <a:gd name="T3" fmla="*/ 0 h 302"/>
                <a:gd name="T4" fmla="*/ 65 w 1040"/>
                <a:gd name="T5" fmla="*/ 302 h 302"/>
                <a:gd name="T6" fmla="*/ 0 w 1040"/>
                <a:gd name="T7" fmla="*/ 302 h 302"/>
                <a:gd name="T8" fmla="*/ 0 w 1040"/>
                <a:gd name="T9" fmla="*/ 0 h 302"/>
                <a:gd name="T10" fmla="*/ 698 w 1040"/>
                <a:gd name="T11" fmla="*/ 0 h 302"/>
                <a:gd name="T12" fmla="*/ 763 w 1040"/>
                <a:gd name="T13" fmla="*/ 0 h 302"/>
                <a:gd name="T14" fmla="*/ 763 w 1040"/>
                <a:gd name="T15" fmla="*/ 302 h 302"/>
                <a:gd name="T16" fmla="*/ 698 w 1040"/>
                <a:gd name="T17" fmla="*/ 302 h 302"/>
                <a:gd name="T18" fmla="*/ 698 w 1040"/>
                <a:gd name="T19" fmla="*/ 0 h 302"/>
                <a:gd name="T20" fmla="*/ 835 w 1040"/>
                <a:gd name="T21" fmla="*/ 0 h 302"/>
                <a:gd name="T22" fmla="*/ 901 w 1040"/>
                <a:gd name="T23" fmla="*/ 0 h 302"/>
                <a:gd name="T24" fmla="*/ 901 w 1040"/>
                <a:gd name="T25" fmla="*/ 302 h 302"/>
                <a:gd name="T26" fmla="*/ 835 w 1040"/>
                <a:gd name="T27" fmla="*/ 302 h 302"/>
                <a:gd name="T28" fmla="*/ 835 w 1040"/>
                <a:gd name="T29" fmla="*/ 0 h 302"/>
                <a:gd name="T30" fmla="*/ 974 w 1040"/>
                <a:gd name="T31" fmla="*/ 0 h 302"/>
                <a:gd name="T32" fmla="*/ 1040 w 1040"/>
                <a:gd name="T33" fmla="*/ 0 h 302"/>
                <a:gd name="T34" fmla="*/ 1040 w 1040"/>
                <a:gd name="T35" fmla="*/ 302 h 302"/>
                <a:gd name="T36" fmla="*/ 974 w 1040"/>
                <a:gd name="T37" fmla="*/ 302 h 302"/>
                <a:gd name="T38" fmla="*/ 974 w 1040"/>
                <a:gd name="T3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40" h="302">
                  <a:moveTo>
                    <a:pt x="0" y="0"/>
                  </a:moveTo>
                  <a:lnTo>
                    <a:pt x="65" y="0"/>
                  </a:lnTo>
                  <a:lnTo>
                    <a:pt x="65" y="302"/>
                  </a:lnTo>
                  <a:lnTo>
                    <a:pt x="0" y="302"/>
                  </a:lnTo>
                  <a:lnTo>
                    <a:pt x="0" y="0"/>
                  </a:lnTo>
                  <a:close/>
                  <a:moveTo>
                    <a:pt x="698" y="0"/>
                  </a:moveTo>
                  <a:lnTo>
                    <a:pt x="763" y="0"/>
                  </a:lnTo>
                  <a:lnTo>
                    <a:pt x="763" y="302"/>
                  </a:lnTo>
                  <a:lnTo>
                    <a:pt x="698" y="302"/>
                  </a:lnTo>
                  <a:lnTo>
                    <a:pt x="698" y="0"/>
                  </a:lnTo>
                  <a:close/>
                  <a:moveTo>
                    <a:pt x="835" y="0"/>
                  </a:moveTo>
                  <a:lnTo>
                    <a:pt x="901" y="0"/>
                  </a:lnTo>
                  <a:lnTo>
                    <a:pt x="901" y="302"/>
                  </a:lnTo>
                  <a:lnTo>
                    <a:pt x="835" y="302"/>
                  </a:lnTo>
                  <a:lnTo>
                    <a:pt x="835" y="0"/>
                  </a:lnTo>
                  <a:close/>
                  <a:moveTo>
                    <a:pt x="974" y="0"/>
                  </a:moveTo>
                  <a:lnTo>
                    <a:pt x="1040" y="0"/>
                  </a:lnTo>
                  <a:lnTo>
                    <a:pt x="1040" y="302"/>
                  </a:lnTo>
                  <a:lnTo>
                    <a:pt x="974" y="302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7" name="îSḷîḓé"/>
            <p:cNvSpPr/>
            <p:nvPr/>
          </p:nvSpPr>
          <p:spPr bwMode="auto">
            <a:xfrm>
              <a:off x="3187701" y="6442075"/>
              <a:ext cx="2603500" cy="354013"/>
            </a:xfrm>
            <a:prstGeom prst="rect">
              <a:avLst/>
            </a:prstGeom>
            <a:solidFill>
              <a:srgbClr val="DE0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8" name="íṡḻïdè"/>
            <p:cNvSpPr/>
            <p:nvPr/>
          </p:nvSpPr>
          <p:spPr bwMode="auto">
            <a:xfrm>
              <a:off x="3448051" y="6442075"/>
              <a:ext cx="1957388" cy="358775"/>
            </a:xfrm>
            <a:custGeom>
              <a:avLst/>
              <a:gdLst>
                <a:gd name="T0" fmla="*/ 0 w 1233"/>
                <a:gd name="T1" fmla="*/ 0 h 226"/>
                <a:gd name="T2" fmla="*/ 68 w 1233"/>
                <a:gd name="T3" fmla="*/ 0 h 226"/>
                <a:gd name="T4" fmla="*/ 68 w 1233"/>
                <a:gd name="T5" fmla="*/ 226 h 226"/>
                <a:gd name="T6" fmla="*/ 0 w 1233"/>
                <a:gd name="T7" fmla="*/ 226 h 226"/>
                <a:gd name="T8" fmla="*/ 0 w 1233"/>
                <a:gd name="T9" fmla="*/ 0 h 226"/>
                <a:gd name="T10" fmla="*/ 1166 w 1233"/>
                <a:gd name="T11" fmla="*/ 0 h 226"/>
                <a:gd name="T12" fmla="*/ 1233 w 1233"/>
                <a:gd name="T13" fmla="*/ 0 h 226"/>
                <a:gd name="T14" fmla="*/ 1233 w 1233"/>
                <a:gd name="T15" fmla="*/ 223 h 226"/>
                <a:gd name="T16" fmla="*/ 1166 w 1233"/>
                <a:gd name="T17" fmla="*/ 223 h 226"/>
                <a:gd name="T18" fmla="*/ 1166 w 1233"/>
                <a:gd name="T1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3" h="226">
                  <a:moveTo>
                    <a:pt x="0" y="0"/>
                  </a:moveTo>
                  <a:lnTo>
                    <a:pt x="68" y="0"/>
                  </a:lnTo>
                  <a:lnTo>
                    <a:pt x="68" y="226"/>
                  </a:lnTo>
                  <a:lnTo>
                    <a:pt x="0" y="226"/>
                  </a:lnTo>
                  <a:lnTo>
                    <a:pt x="0" y="0"/>
                  </a:lnTo>
                  <a:close/>
                  <a:moveTo>
                    <a:pt x="1166" y="0"/>
                  </a:moveTo>
                  <a:lnTo>
                    <a:pt x="1233" y="0"/>
                  </a:lnTo>
                  <a:lnTo>
                    <a:pt x="1233" y="223"/>
                  </a:lnTo>
                  <a:lnTo>
                    <a:pt x="1166" y="223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582A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9" name="îşḻide"/>
            <p:cNvSpPr/>
            <p:nvPr/>
          </p:nvSpPr>
          <p:spPr bwMode="auto">
            <a:xfrm>
              <a:off x="3219451" y="5372100"/>
              <a:ext cx="2319338" cy="595313"/>
            </a:xfrm>
            <a:custGeom>
              <a:avLst/>
              <a:gdLst>
                <a:gd name="T0" fmla="*/ 0 w 1461"/>
                <a:gd name="T1" fmla="*/ 0 h 375"/>
                <a:gd name="T2" fmla="*/ 1461 w 1461"/>
                <a:gd name="T3" fmla="*/ 0 h 375"/>
                <a:gd name="T4" fmla="*/ 1461 w 1461"/>
                <a:gd name="T5" fmla="*/ 66 h 375"/>
                <a:gd name="T6" fmla="*/ 72 w 1461"/>
                <a:gd name="T7" fmla="*/ 66 h 375"/>
                <a:gd name="T8" fmla="*/ 72 w 1461"/>
                <a:gd name="T9" fmla="*/ 307 h 375"/>
                <a:gd name="T10" fmla="*/ 1461 w 1461"/>
                <a:gd name="T11" fmla="*/ 307 h 375"/>
                <a:gd name="T12" fmla="*/ 1461 w 1461"/>
                <a:gd name="T13" fmla="*/ 375 h 375"/>
                <a:gd name="T14" fmla="*/ 0 w 1461"/>
                <a:gd name="T15" fmla="*/ 375 h 375"/>
                <a:gd name="T16" fmla="*/ 0 w 1461"/>
                <a:gd name="T1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1" h="375">
                  <a:moveTo>
                    <a:pt x="0" y="0"/>
                  </a:moveTo>
                  <a:lnTo>
                    <a:pt x="1461" y="0"/>
                  </a:lnTo>
                  <a:lnTo>
                    <a:pt x="1461" y="66"/>
                  </a:lnTo>
                  <a:lnTo>
                    <a:pt x="72" y="66"/>
                  </a:lnTo>
                  <a:lnTo>
                    <a:pt x="72" y="307"/>
                  </a:lnTo>
                  <a:lnTo>
                    <a:pt x="1461" y="307"/>
                  </a:lnTo>
                  <a:lnTo>
                    <a:pt x="1461" y="375"/>
                  </a:lnTo>
                  <a:lnTo>
                    <a:pt x="0" y="3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2B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0" name="ïṧľiḓé"/>
            <p:cNvSpPr/>
            <p:nvPr/>
          </p:nvSpPr>
          <p:spPr bwMode="auto">
            <a:xfrm>
              <a:off x="3333751" y="5476875"/>
              <a:ext cx="2127250" cy="55563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1" name="î$ḷiḑe"/>
            <p:cNvSpPr/>
            <p:nvPr/>
          </p:nvSpPr>
          <p:spPr bwMode="auto">
            <a:xfrm>
              <a:off x="3333751" y="5532438"/>
              <a:ext cx="2127250" cy="5556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2" name="íṧļíḍé"/>
            <p:cNvSpPr/>
            <p:nvPr/>
          </p:nvSpPr>
          <p:spPr bwMode="auto">
            <a:xfrm>
              <a:off x="3333751" y="5641975"/>
              <a:ext cx="2127250" cy="5556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3" name="îsḻïḓe"/>
            <p:cNvSpPr/>
            <p:nvPr/>
          </p:nvSpPr>
          <p:spPr bwMode="auto">
            <a:xfrm>
              <a:off x="3333751" y="5588000"/>
              <a:ext cx="2127250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4" name="íṥḻïḓê"/>
            <p:cNvSpPr/>
            <p:nvPr/>
          </p:nvSpPr>
          <p:spPr bwMode="auto">
            <a:xfrm>
              <a:off x="3333751" y="5697538"/>
              <a:ext cx="2127250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5" name="îślïḑè"/>
            <p:cNvSpPr/>
            <p:nvPr/>
          </p:nvSpPr>
          <p:spPr bwMode="auto">
            <a:xfrm>
              <a:off x="3333751" y="5751513"/>
              <a:ext cx="2127250" cy="5397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6" name="ïṣľiďè"/>
            <p:cNvSpPr/>
            <p:nvPr/>
          </p:nvSpPr>
          <p:spPr bwMode="auto">
            <a:xfrm>
              <a:off x="3333751" y="5805488"/>
              <a:ext cx="2127250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7" name="ï$ḷïḍe"/>
            <p:cNvSpPr/>
            <p:nvPr/>
          </p:nvSpPr>
          <p:spPr bwMode="auto">
            <a:xfrm>
              <a:off x="3617913" y="5191125"/>
              <a:ext cx="2046288" cy="180975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8" name="î$ľiḑe"/>
            <p:cNvSpPr/>
            <p:nvPr/>
          </p:nvSpPr>
          <p:spPr bwMode="auto">
            <a:xfrm>
              <a:off x="3824288" y="5262563"/>
              <a:ext cx="1463675" cy="46038"/>
            </a:xfrm>
            <a:prstGeom prst="rect">
              <a:avLst/>
            </a:prstGeom>
            <a:solidFill>
              <a:srgbClr val="21A8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9" name="iş1íďe"/>
            <p:cNvSpPr/>
            <p:nvPr/>
          </p:nvSpPr>
          <p:spPr bwMode="auto">
            <a:xfrm>
              <a:off x="5432426" y="5191125"/>
              <a:ext cx="115888" cy="180975"/>
            </a:xfrm>
            <a:prstGeom prst="rect">
              <a:avLst/>
            </a:prstGeom>
            <a:solidFill>
              <a:srgbClr val="21A8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0" name="îşľïḑè"/>
            <p:cNvSpPr/>
            <p:nvPr/>
          </p:nvSpPr>
          <p:spPr bwMode="auto">
            <a:xfrm>
              <a:off x="2892426" y="4837113"/>
              <a:ext cx="2603500" cy="354013"/>
            </a:xfrm>
            <a:prstGeom prst="rect">
              <a:avLst/>
            </a:prstGeom>
            <a:solidFill>
              <a:srgbClr val="2157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1" name="ïṣliḑê"/>
            <p:cNvSpPr/>
            <p:nvPr/>
          </p:nvSpPr>
          <p:spPr bwMode="auto">
            <a:xfrm>
              <a:off x="3152776" y="4837113"/>
              <a:ext cx="1954213" cy="358775"/>
            </a:xfrm>
            <a:custGeom>
              <a:avLst/>
              <a:gdLst>
                <a:gd name="T0" fmla="*/ 0 w 1231"/>
                <a:gd name="T1" fmla="*/ 0 h 226"/>
                <a:gd name="T2" fmla="*/ 66 w 1231"/>
                <a:gd name="T3" fmla="*/ 0 h 226"/>
                <a:gd name="T4" fmla="*/ 66 w 1231"/>
                <a:gd name="T5" fmla="*/ 226 h 226"/>
                <a:gd name="T6" fmla="*/ 0 w 1231"/>
                <a:gd name="T7" fmla="*/ 226 h 226"/>
                <a:gd name="T8" fmla="*/ 0 w 1231"/>
                <a:gd name="T9" fmla="*/ 0 h 226"/>
                <a:gd name="T10" fmla="*/ 1166 w 1231"/>
                <a:gd name="T11" fmla="*/ 0 h 226"/>
                <a:gd name="T12" fmla="*/ 1231 w 1231"/>
                <a:gd name="T13" fmla="*/ 0 h 226"/>
                <a:gd name="T14" fmla="*/ 1231 w 1231"/>
                <a:gd name="T15" fmla="*/ 223 h 226"/>
                <a:gd name="T16" fmla="*/ 1166 w 1231"/>
                <a:gd name="T17" fmla="*/ 223 h 226"/>
                <a:gd name="T18" fmla="*/ 1166 w 1231"/>
                <a:gd name="T1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1" h="226">
                  <a:moveTo>
                    <a:pt x="0" y="0"/>
                  </a:moveTo>
                  <a:lnTo>
                    <a:pt x="66" y="0"/>
                  </a:lnTo>
                  <a:lnTo>
                    <a:pt x="66" y="226"/>
                  </a:lnTo>
                  <a:lnTo>
                    <a:pt x="0" y="226"/>
                  </a:lnTo>
                  <a:lnTo>
                    <a:pt x="0" y="0"/>
                  </a:lnTo>
                  <a:close/>
                  <a:moveTo>
                    <a:pt x="1166" y="0"/>
                  </a:moveTo>
                  <a:lnTo>
                    <a:pt x="1231" y="0"/>
                  </a:lnTo>
                  <a:lnTo>
                    <a:pt x="1231" y="223"/>
                  </a:lnTo>
                  <a:lnTo>
                    <a:pt x="1166" y="223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26AF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2" name="íṥlíďé"/>
            <p:cNvSpPr/>
            <p:nvPr/>
          </p:nvSpPr>
          <p:spPr bwMode="auto">
            <a:xfrm>
              <a:off x="3744913" y="4930775"/>
              <a:ext cx="1144588" cy="165100"/>
            </a:xfrm>
            <a:prstGeom prst="rect">
              <a:avLst/>
            </a:prstGeom>
            <a:solidFill>
              <a:srgbClr val="26AF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3" name="íṩ1îdé"/>
            <p:cNvSpPr/>
            <p:nvPr/>
          </p:nvSpPr>
          <p:spPr bwMode="auto">
            <a:xfrm>
              <a:off x="3063876" y="4090988"/>
              <a:ext cx="2770188" cy="749300"/>
            </a:xfrm>
            <a:prstGeom prst="rect">
              <a:avLst/>
            </a:prstGeom>
            <a:solidFill>
              <a:srgbClr val="562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4" name="íṩḷíḑé"/>
            <p:cNvSpPr/>
            <p:nvPr/>
          </p:nvSpPr>
          <p:spPr bwMode="auto">
            <a:xfrm>
              <a:off x="4121151" y="4090988"/>
              <a:ext cx="46038" cy="749300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5" name="íṩḷiḑê"/>
            <p:cNvSpPr/>
            <p:nvPr/>
          </p:nvSpPr>
          <p:spPr bwMode="auto">
            <a:xfrm>
              <a:off x="3325813" y="4090988"/>
              <a:ext cx="61913" cy="749300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6" name="ïşļíďê"/>
            <p:cNvSpPr/>
            <p:nvPr/>
          </p:nvSpPr>
          <p:spPr bwMode="auto">
            <a:xfrm>
              <a:off x="3405188" y="4090988"/>
              <a:ext cx="28575" cy="749300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7" name="ïṩļîďe"/>
            <p:cNvSpPr/>
            <p:nvPr/>
          </p:nvSpPr>
          <p:spPr bwMode="auto">
            <a:xfrm>
              <a:off x="5222876" y="4090988"/>
              <a:ext cx="63500" cy="749300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8" name="ïŝ1ídè"/>
            <p:cNvSpPr/>
            <p:nvPr/>
          </p:nvSpPr>
          <p:spPr bwMode="auto">
            <a:xfrm>
              <a:off x="5300663" y="4090988"/>
              <a:ext cx="30163" cy="749300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išḷïḑe"/>
            <p:cNvSpPr/>
            <p:nvPr/>
          </p:nvSpPr>
          <p:spPr bwMode="auto">
            <a:xfrm>
              <a:off x="3411538" y="3497263"/>
              <a:ext cx="2322513" cy="595313"/>
            </a:xfrm>
            <a:custGeom>
              <a:avLst/>
              <a:gdLst>
                <a:gd name="T0" fmla="*/ 1463 w 1463"/>
                <a:gd name="T1" fmla="*/ 0 h 375"/>
                <a:gd name="T2" fmla="*/ 0 w 1463"/>
                <a:gd name="T3" fmla="*/ 0 h 375"/>
                <a:gd name="T4" fmla="*/ 0 w 1463"/>
                <a:gd name="T5" fmla="*/ 68 h 375"/>
                <a:gd name="T6" fmla="*/ 1390 w 1463"/>
                <a:gd name="T7" fmla="*/ 68 h 375"/>
                <a:gd name="T8" fmla="*/ 1390 w 1463"/>
                <a:gd name="T9" fmla="*/ 308 h 375"/>
                <a:gd name="T10" fmla="*/ 0 w 1463"/>
                <a:gd name="T11" fmla="*/ 308 h 375"/>
                <a:gd name="T12" fmla="*/ 0 w 1463"/>
                <a:gd name="T13" fmla="*/ 375 h 375"/>
                <a:gd name="T14" fmla="*/ 1463 w 1463"/>
                <a:gd name="T15" fmla="*/ 375 h 375"/>
                <a:gd name="T16" fmla="*/ 1463 w 1463"/>
                <a:gd name="T1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3" h="375">
                  <a:moveTo>
                    <a:pt x="1463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1390" y="68"/>
                  </a:lnTo>
                  <a:lnTo>
                    <a:pt x="1390" y="308"/>
                  </a:lnTo>
                  <a:lnTo>
                    <a:pt x="0" y="308"/>
                  </a:lnTo>
                  <a:lnTo>
                    <a:pt x="0" y="375"/>
                  </a:lnTo>
                  <a:lnTo>
                    <a:pt x="1463" y="375"/>
                  </a:lnTo>
                  <a:lnTo>
                    <a:pt x="1463" y="0"/>
                  </a:lnTo>
                  <a:close/>
                </a:path>
              </a:pathLst>
            </a:custGeom>
            <a:solidFill>
              <a:srgbClr val="2157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îṥḻîḓe"/>
            <p:cNvSpPr/>
            <p:nvPr/>
          </p:nvSpPr>
          <p:spPr bwMode="auto">
            <a:xfrm>
              <a:off x="3489326" y="3605213"/>
              <a:ext cx="2128838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iS1íḑê"/>
            <p:cNvSpPr/>
            <p:nvPr/>
          </p:nvSpPr>
          <p:spPr bwMode="auto">
            <a:xfrm>
              <a:off x="3489326" y="3659188"/>
              <a:ext cx="2128838" cy="5397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ïṧļiḓé"/>
            <p:cNvSpPr/>
            <p:nvPr/>
          </p:nvSpPr>
          <p:spPr bwMode="auto">
            <a:xfrm>
              <a:off x="3489326" y="3768725"/>
              <a:ext cx="2128838" cy="5397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iŝļïḑê"/>
            <p:cNvSpPr/>
            <p:nvPr/>
          </p:nvSpPr>
          <p:spPr bwMode="auto">
            <a:xfrm>
              <a:off x="3489326" y="3713163"/>
              <a:ext cx="2128838" cy="55563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îşľíḋé"/>
            <p:cNvSpPr/>
            <p:nvPr/>
          </p:nvSpPr>
          <p:spPr bwMode="auto">
            <a:xfrm>
              <a:off x="3489326" y="3822700"/>
              <a:ext cx="2128838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islíďè"/>
            <p:cNvSpPr/>
            <p:nvPr/>
          </p:nvSpPr>
          <p:spPr bwMode="auto">
            <a:xfrm>
              <a:off x="3489326" y="3876675"/>
              <a:ext cx="2128838" cy="5556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ïṩḷíḍê"/>
            <p:cNvSpPr/>
            <p:nvPr/>
          </p:nvSpPr>
          <p:spPr bwMode="auto">
            <a:xfrm>
              <a:off x="3489326" y="3932238"/>
              <a:ext cx="2128838" cy="5397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ïṡliḍè"/>
            <p:cNvSpPr/>
            <p:nvPr/>
          </p:nvSpPr>
          <p:spPr bwMode="auto">
            <a:xfrm>
              <a:off x="2928938" y="3019425"/>
              <a:ext cx="3073400" cy="481013"/>
            </a:xfrm>
            <a:prstGeom prst="rect">
              <a:avLst/>
            </a:pr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ïṧliďê"/>
            <p:cNvSpPr/>
            <p:nvPr/>
          </p:nvSpPr>
          <p:spPr bwMode="auto">
            <a:xfrm>
              <a:off x="3648076" y="3019425"/>
              <a:ext cx="1652588" cy="481013"/>
            </a:xfrm>
            <a:custGeom>
              <a:avLst/>
              <a:gdLst>
                <a:gd name="T0" fmla="*/ 0 w 1041"/>
                <a:gd name="T1" fmla="*/ 0 h 303"/>
                <a:gd name="T2" fmla="*/ 66 w 1041"/>
                <a:gd name="T3" fmla="*/ 0 h 303"/>
                <a:gd name="T4" fmla="*/ 66 w 1041"/>
                <a:gd name="T5" fmla="*/ 303 h 303"/>
                <a:gd name="T6" fmla="*/ 0 w 1041"/>
                <a:gd name="T7" fmla="*/ 303 h 303"/>
                <a:gd name="T8" fmla="*/ 0 w 1041"/>
                <a:gd name="T9" fmla="*/ 0 h 303"/>
                <a:gd name="T10" fmla="*/ 699 w 1041"/>
                <a:gd name="T11" fmla="*/ 0 h 303"/>
                <a:gd name="T12" fmla="*/ 764 w 1041"/>
                <a:gd name="T13" fmla="*/ 0 h 303"/>
                <a:gd name="T14" fmla="*/ 764 w 1041"/>
                <a:gd name="T15" fmla="*/ 303 h 303"/>
                <a:gd name="T16" fmla="*/ 699 w 1041"/>
                <a:gd name="T17" fmla="*/ 303 h 303"/>
                <a:gd name="T18" fmla="*/ 699 w 1041"/>
                <a:gd name="T19" fmla="*/ 0 h 303"/>
                <a:gd name="T20" fmla="*/ 837 w 1041"/>
                <a:gd name="T21" fmla="*/ 0 h 303"/>
                <a:gd name="T22" fmla="*/ 903 w 1041"/>
                <a:gd name="T23" fmla="*/ 0 h 303"/>
                <a:gd name="T24" fmla="*/ 903 w 1041"/>
                <a:gd name="T25" fmla="*/ 303 h 303"/>
                <a:gd name="T26" fmla="*/ 837 w 1041"/>
                <a:gd name="T27" fmla="*/ 303 h 303"/>
                <a:gd name="T28" fmla="*/ 837 w 1041"/>
                <a:gd name="T29" fmla="*/ 0 h 303"/>
                <a:gd name="T30" fmla="*/ 975 w 1041"/>
                <a:gd name="T31" fmla="*/ 0 h 303"/>
                <a:gd name="T32" fmla="*/ 1041 w 1041"/>
                <a:gd name="T33" fmla="*/ 0 h 303"/>
                <a:gd name="T34" fmla="*/ 1041 w 1041"/>
                <a:gd name="T35" fmla="*/ 303 h 303"/>
                <a:gd name="T36" fmla="*/ 975 w 1041"/>
                <a:gd name="T37" fmla="*/ 303 h 303"/>
                <a:gd name="T38" fmla="*/ 975 w 1041"/>
                <a:gd name="T3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41" h="303">
                  <a:moveTo>
                    <a:pt x="0" y="0"/>
                  </a:moveTo>
                  <a:lnTo>
                    <a:pt x="66" y="0"/>
                  </a:lnTo>
                  <a:lnTo>
                    <a:pt x="66" y="303"/>
                  </a:lnTo>
                  <a:lnTo>
                    <a:pt x="0" y="303"/>
                  </a:lnTo>
                  <a:lnTo>
                    <a:pt x="0" y="0"/>
                  </a:lnTo>
                  <a:close/>
                  <a:moveTo>
                    <a:pt x="699" y="0"/>
                  </a:moveTo>
                  <a:lnTo>
                    <a:pt x="764" y="0"/>
                  </a:lnTo>
                  <a:lnTo>
                    <a:pt x="764" y="303"/>
                  </a:lnTo>
                  <a:lnTo>
                    <a:pt x="699" y="303"/>
                  </a:lnTo>
                  <a:lnTo>
                    <a:pt x="699" y="0"/>
                  </a:lnTo>
                  <a:close/>
                  <a:moveTo>
                    <a:pt x="837" y="0"/>
                  </a:moveTo>
                  <a:lnTo>
                    <a:pt x="903" y="0"/>
                  </a:lnTo>
                  <a:lnTo>
                    <a:pt x="903" y="303"/>
                  </a:lnTo>
                  <a:lnTo>
                    <a:pt x="837" y="303"/>
                  </a:lnTo>
                  <a:lnTo>
                    <a:pt x="837" y="0"/>
                  </a:lnTo>
                  <a:close/>
                  <a:moveTo>
                    <a:pt x="975" y="0"/>
                  </a:moveTo>
                  <a:lnTo>
                    <a:pt x="1041" y="0"/>
                  </a:lnTo>
                  <a:lnTo>
                    <a:pt x="1041" y="303"/>
                  </a:lnTo>
                  <a:lnTo>
                    <a:pt x="975" y="303"/>
                  </a:lnTo>
                  <a:lnTo>
                    <a:pt x="975" y="0"/>
                  </a:lnTo>
                  <a:close/>
                </a:path>
              </a:pathLst>
            </a:custGeom>
            <a:solidFill>
              <a:srgbClr val="562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îŝ1iďê"/>
            <p:cNvSpPr/>
            <p:nvPr/>
          </p:nvSpPr>
          <p:spPr bwMode="auto">
            <a:xfrm>
              <a:off x="3190876" y="2836863"/>
              <a:ext cx="2047875" cy="182563"/>
            </a:xfrm>
            <a:prstGeom prst="rect">
              <a:avLst/>
            </a:prstGeom>
            <a:solidFill>
              <a:srgbClr val="2157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îṧḻíḋè"/>
            <p:cNvSpPr/>
            <p:nvPr/>
          </p:nvSpPr>
          <p:spPr bwMode="auto">
            <a:xfrm>
              <a:off x="3397251" y="2909888"/>
              <a:ext cx="1463675" cy="47625"/>
            </a:xfrm>
            <a:prstGeom prst="rect">
              <a:avLst/>
            </a:prstGeom>
            <a:solidFill>
              <a:srgbClr val="21A8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îṣḷiḍè"/>
            <p:cNvSpPr/>
            <p:nvPr/>
          </p:nvSpPr>
          <p:spPr bwMode="auto">
            <a:xfrm>
              <a:off x="5006976" y="2836863"/>
              <a:ext cx="114300" cy="182563"/>
            </a:xfrm>
            <a:prstGeom prst="rect">
              <a:avLst/>
            </a:prstGeom>
            <a:solidFill>
              <a:srgbClr val="21A8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iṣlîḓe"/>
            <p:cNvSpPr/>
            <p:nvPr/>
          </p:nvSpPr>
          <p:spPr bwMode="auto">
            <a:xfrm>
              <a:off x="3287713" y="2487613"/>
              <a:ext cx="2603500" cy="354013"/>
            </a:xfrm>
            <a:prstGeom prst="rect">
              <a:avLst/>
            </a:prstGeom>
            <a:solidFill>
              <a:srgbClr val="532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îṥľiḑè"/>
            <p:cNvSpPr/>
            <p:nvPr/>
          </p:nvSpPr>
          <p:spPr bwMode="auto">
            <a:xfrm>
              <a:off x="3548063" y="2487613"/>
              <a:ext cx="1954213" cy="358775"/>
            </a:xfrm>
            <a:custGeom>
              <a:avLst/>
              <a:gdLst>
                <a:gd name="T0" fmla="*/ 0 w 1231"/>
                <a:gd name="T1" fmla="*/ 0 h 226"/>
                <a:gd name="T2" fmla="*/ 66 w 1231"/>
                <a:gd name="T3" fmla="*/ 0 h 226"/>
                <a:gd name="T4" fmla="*/ 66 w 1231"/>
                <a:gd name="T5" fmla="*/ 226 h 226"/>
                <a:gd name="T6" fmla="*/ 0 w 1231"/>
                <a:gd name="T7" fmla="*/ 226 h 226"/>
                <a:gd name="T8" fmla="*/ 0 w 1231"/>
                <a:gd name="T9" fmla="*/ 0 h 226"/>
                <a:gd name="T10" fmla="*/ 1166 w 1231"/>
                <a:gd name="T11" fmla="*/ 0 h 226"/>
                <a:gd name="T12" fmla="*/ 1231 w 1231"/>
                <a:gd name="T13" fmla="*/ 0 h 226"/>
                <a:gd name="T14" fmla="*/ 1231 w 1231"/>
                <a:gd name="T15" fmla="*/ 223 h 226"/>
                <a:gd name="T16" fmla="*/ 1166 w 1231"/>
                <a:gd name="T17" fmla="*/ 223 h 226"/>
                <a:gd name="T18" fmla="*/ 1166 w 1231"/>
                <a:gd name="T1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1" h="226">
                  <a:moveTo>
                    <a:pt x="0" y="0"/>
                  </a:moveTo>
                  <a:lnTo>
                    <a:pt x="66" y="0"/>
                  </a:lnTo>
                  <a:lnTo>
                    <a:pt x="66" y="226"/>
                  </a:lnTo>
                  <a:lnTo>
                    <a:pt x="0" y="226"/>
                  </a:lnTo>
                  <a:lnTo>
                    <a:pt x="0" y="0"/>
                  </a:lnTo>
                  <a:close/>
                  <a:moveTo>
                    <a:pt x="1166" y="0"/>
                  </a:moveTo>
                  <a:lnTo>
                    <a:pt x="1231" y="0"/>
                  </a:lnTo>
                  <a:lnTo>
                    <a:pt x="1231" y="223"/>
                  </a:lnTo>
                  <a:lnTo>
                    <a:pt x="1166" y="223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866B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íşlíḑè"/>
            <p:cNvSpPr/>
            <p:nvPr/>
          </p:nvSpPr>
          <p:spPr bwMode="auto">
            <a:xfrm>
              <a:off x="4140201" y="2579688"/>
              <a:ext cx="1144588" cy="168275"/>
            </a:xfrm>
            <a:prstGeom prst="rect">
              <a:avLst/>
            </a:prstGeom>
            <a:solidFill>
              <a:srgbClr val="866B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íṧļïḓé"/>
            <p:cNvSpPr/>
            <p:nvPr/>
          </p:nvSpPr>
          <p:spPr bwMode="auto">
            <a:xfrm>
              <a:off x="2982913" y="2009775"/>
              <a:ext cx="3073400" cy="481013"/>
            </a:xfrm>
            <a:prstGeom prst="rect">
              <a:avLst/>
            </a:prstGeom>
            <a:solidFill>
              <a:srgbClr val="C300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ïṥ1ïḑê"/>
            <p:cNvSpPr/>
            <p:nvPr/>
          </p:nvSpPr>
          <p:spPr bwMode="auto">
            <a:xfrm>
              <a:off x="3684588" y="2009775"/>
              <a:ext cx="1652588" cy="481013"/>
            </a:xfrm>
            <a:custGeom>
              <a:avLst/>
              <a:gdLst>
                <a:gd name="T0" fmla="*/ 1041 w 1041"/>
                <a:gd name="T1" fmla="*/ 0 h 303"/>
                <a:gd name="T2" fmla="*/ 975 w 1041"/>
                <a:gd name="T3" fmla="*/ 0 h 303"/>
                <a:gd name="T4" fmla="*/ 975 w 1041"/>
                <a:gd name="T5" fmla="*/ 303 h 303"/>
                <a:gd name="T6" fmla="*/ 1041 w 1041"/>
                <a:gd name="T7" fmla="*/ 303 h 303"/>
                <a:gd name="T8" fmla="*/ 1041 w 1041"/>
                <a:gd name="T9" fmla="*/ 0 h 303"/>
                <a:gd name="T10" fmla="*/ 342 w 1041"/>
                <a:gd name="T11" fmla="*/ 0 h 303"/>
                <a:gd name="T12" fmla="*/ 277 w 1041"/>
                <a:gd name="T13" fmla="*/ 0 h 303"/>
                <a:gd name="T14" fmla="*/ 277 w 1041"/>
                <a:gd name="T15" fmla="*/ 303 h 303"/>
                <a:gd name="T16" fmla="*/ 342 w 1041"/>
                <a:gd name="T17" fmla="*/ 303 h 303"/>
                <a:gd name="T18" fmla="*/ 342 w 1041"/>
                <a:gd name="T19" fmla="*/ 0 h 303"/>
                <a:gd name="T20" fmla="*/ 204 w 1041"/>
                <a:gd name="T21" fmla="*/ 0 h 303"/>
                <a:gd name="T22" fmla="*/ 138 w 1041"/>
                <a:gd name="T23" fmla="*/ 0 h 303"/>
                <a:gd name="T24" fmla="*/ 138 w 1041"/>
                <a:gd name="T25" fmla="*/ 303 h 303"/>
                <a:gd name="T26" fmla="*/ 204 w 1041"/>
                <a:gd name="T27" fmla="*/ 303 h 303"/>
                <a:gd name="T28" fmla="*/ 204 w 1041"/>
                <a:gd name="T29" fmla="*/ 0 h 303"/>
                <a:gd name="T30" fmla="*/ 66 w 1041"/>
                <a:gd name="T31" fmla="*/ 0 h 303"/>
                <a:gd name="T32" fmla="*/ 0 w 1041"/>
                <a:gd name="T33" fmla="*/ 0 h 303"/>
                <a:gd name="T34" fmla="*/ 0 w 1041"/>
                <a:gd name="T35" fmla="*/ 303 h 303"/>
                <a:gd name="T36" fmla="*/ 66 w 1041"/>
                <a:gd name="T37" fmla="*/ 303 h 303"/>
                <a:gd name="T38" fmla="*/ 66 w 1041"/>
                <a:gd name="T3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41" h="303">
                  <a:moveTo>
                    <a:pt x="1041" y="0"/>
                  </a:moveTo>
                  <a:lnTo>
                    <a:pt x="975" y="0"/>
                  </a:lnTo>
                  <a:lnTo>
                    <a:pt x="975" y="303"/>
                  </a:lnTo>
                  <a:lnTo>
                    <a:pt x="1041" y="303"/>
                  </a:lnTo>
                  <a:lnTo>
                    <a:pt x="1041" y="0"/>
                  </a:lnTo>
                  <a:close/>
                  <a:moveTo>
                    <a:pt x="342" y="0"/>
                  </a:moveTo>
                  <a:lnTo>
                    <a:pt x="277" y="0"/>
                  </a:lnTo>
                  <a:lnTo>
                    <a:pt x="277" y="303"/>
                  </a:lnTo>
                  <a:lnTo>
                    <a:pt x="342" y="303"/>
                  </a:lnTo>
                  <a:lnTo>
                    <a:pt x="342" y="0"/>
                  </a:lnTo>
                  <a:close/>
                  <a:moveTo>
                    <a:pt x="204" y="0"/>
                  </a:moveTo>
                  <a:lnTo>
                    <a:pt x="138" y="0"/>
                  </a:lnTo>
                  <a:lnTo>
                    <a:pt x="138" y="303"/>
                  </a:lnTo>
                  <a:lnTo>
                    <a:pt x="204" y="303"/>
                  </a:lnTo>
                  <a:lnTo>
                    <a:pt x="204" y="0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303"/>
                  </a:lnTo>
                  <a:lnTo>
                    <a:pt x="66" y="30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5100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íṣľïde"/>
            <p:cNvSpPr/>
            <p:nvPr/>
          </p:nvSpPr>
          <p:spPr bwMode="auto">
            <a:xfrm>
              <a:off x="5737226" y="3489325"/>
              <a:ext cx="1252538" cy="1573213"/>
            </a:xfrm>
            <a:custGeom>
              <a:avLst/>
              <a:gdLst>
                <a:gd name="T0" fmla="*/ 465 w 789"/>
                <a:gd name="T1" fmla="*/ 991 h 991"/>
                <a:gd name="T2" fmla="*/ 0 w 789"/>
                <a:gd name="T3" fmla="*/ 186 h 991"/>
                <a:gd name="T4" fmla="*/ 58 w 789"/>
                <a:gd name="T5" fmla="*/ 153 h 991"/>
                <a:gd name="T6" fmla="*/ 500 w 789"/>
                <a:gd name="T7" fmla="*/ 916 h 991"/>
                <a:gd name="T8" fmla="*/ 707 w 789"/>
                <a:gd name="T9" fmla="*/ 797 h 991"/>
                <a:gd name="T10" fmla="*/ 266 w 789"/>
                <a:gd name="T11" fmla="*/ 33 h 991"/>
                <a:gd name="T12" fmla="*/ 324 w 789"/>
                <a:gd name="T13" fmla="*/ 0 h 991"/>
                <a:gd name="T14" fmla="*/ 789 w 789"/>
                <a:gd name="T15" fmla="*/ 803 h 991"/>
                <a:gd name="T16" fmla="*/ 465 w 789"/>
                <a:gd name="T17" fmla="*/ 991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9" h="991">
                  <a:moveTo>
                    <a:pt x="465" y="991"/>
                  </a:moveTo>
                  <a:lnTo>
                    <a:pt x="0" y="186"/>
                  </a:lnTo>
                  <a:lnTo>
                    <a:pt x="58" y="153"/>
                  </a:lnTo>
                  <a:lnTo>
                    <a:pt x="500" y="916"/>
                  </a:lnTo>
                  <a:lnTo>
                    <a:pt x="707" y="797"/>
                  </a:lnTo>
                  <a:lnTo>
                    <a:pt x="266" y="33"/>
                  </a:lnTo>
                  <a:lnTo>
                    <a:pt x="324" y="0"/>
                  </a:lnTo>
                  <a:lnTo>
                    <a:pt x="789" y="803"/>
                  </a:lnTo>
                  <a:lnTo>
                    <a:pt x="465" y="991"/>
                  </a:lnTo>
                  <a:close/>
                </a:path>
              </a:pathLst>
            </a:custGeom>
            <a:solidFill>
              <a:srgbClr val="C91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îşḻïḍè"/>
            <p:cNvSpPr/>
            <p:nvPr/>
          </p:nvSpPr>
          <p:spPr bwMode="auto">
            <a:xfrm>
              <a:off x="5854701" y="3754438"/>
              <a:ext cx="712788" cy="1189038"/>
            </a:xfrm>
            <a:custGeom>
              <a:avLst/>
              <a:gdLst>
                <a:gd name="T0" fmla="*/ 0 w 449"/>
                <a:gd name="T1" fmla="*/ 13 h 749"/>
                <a:gd name="T2" fmla="*/ 426 w 449"/>
                <a:gd name="T3" fmla="*/ 749 h 749"/>
                <a:gd name="T4" fmla="*/ 449 w 449"/>
                <a:gd name="T5" fmla="*/ 737 h 749"/>
                <a:gd name="T6" fmla="*/ 23 w 449"/>
                <a:gd name="T7" fmla="*/ 0 h 749"/>
                <a:gd name="T8" fmla="*/ 0 w 449"/>
                <a:gd name="T9" fmla="*/ 13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9" h="749">
                  <a:moveTo>
                    <a:pt x="0" y="13"/>
                  </a:moveTo>
                  <a:lnTo>
                    <a:pt x="426" y="749"/>
                  </a:lnTo>
                  <a:lnTo>
                    <a:pt x="449" y="737"/>
                  </a:lnTo>
                  <a:lnTo>
                    <a:pt x="23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íṥlíďè"/>
            <p:cNvSpPr/>
            <p:nvPr/>
          </p:nvSpPr>
          <p:spPr bwMode="auto">
            <a:xfrm>
              <a:off x="5891213" y="3732213"/>
              <a:ext cx="712788" cy="1192213"/>
            </a:xfrm>
            <a:custGeom>
              <a:avLst/>
              <a:gdLst>
                <a:gd name="T0" fmla="*/ 23 w 449"/>
                <a:gd name="T1" fmla="*/ 0 h 751"/>
                <a:gd name="T2" fmla="*/ 449 w 449"/>
                <a:gd name="T3" fmla="*/ 737 h 751"/>
                <a:gd name="T4" fmla="*/ 426 w 449"/>
                <a:gd name="T5" fmla="*/ 751 h 751"/>
                <a:gd name="T6" fmla="*/ 0 w 449"/>
                <a:gd name="T7" fmla="*/ 14 h 751"/>
                <a:gd name="T8" fmla="*/ 23 w 449"/>
                <a:gd name="T9" fmla="*/ 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9" h="751">
                  <a:moveTo>
                    <a:pt x="23" y="0"/>
                  </a:moveTo>
                  <a:lnTo>
                    <a:pt x="449" y="737"/>
                  </a:lnTo>
                  <a:lnTo>
                    <a:pt x="426" y="751"/>
                  </a:lnTo>
                  <a:lnTo>
                    <a:pt x="0" y="14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i$ḻîḓé"/>
            <p:cNvSpPr/>
            <p:nvPr/>
          </p:nvSpPr>
          <p:spPr bwMode="auto">
            <a:xfrm>
              <a:off x="5964238" y="3690938"/>
              <a:ext cx="712788" cy="1189038"/>
            </a:xfrm>
            <a:custGeom>
              <a:avLst/>
              <a:gdLst>
                <a:gd name="T0" fmla="*/ 23 w 449"/>
                <a:gd name="T1" fmla="*/ 0 h 749"/>
                <a:gd name="T2" fmla="*/ 449 w 449"/>
                <a:gd name="T3" fmla="*/ 737 h 749"/>
                <a:gd name="T4" fmla="*/ 426 w 449"/>
                <a:gd name="T5" fmla="*/ 749 h 749"/>
                <a:gd name="T6" fmla="*/ 0 w 449"/>
                <a:gd name="T7" fmla="*/ 13 h 749"/>
                <a:gd name="T8" fmla="*/ 23 w 449"/>
                <a:gd name="T9" fmla="*/ 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9" h="749">
                  <a:moveTo>
                    <a:pt x="23" y="0"/>
                  </a:moveTo>
                  <a:lnTo>
                    <a:pt x="449" y="737"/>
                  </a:lnTo>
                  <a:lnTo>
                    <a:pt x="426" y="749"/>
                  </a:lnTo>
                  <a:lnTo>
                    <a:pt x="0" y="1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îsḻîḓe"/>
            <p:cNvSpPr/>
            <p:nvPr/>
          </p:nvSpPr>
          <p:spPr bwMode="auto">
            <a:xfrm>
              <a:off x="5927726" y="3711575"/>
              <a:ext cx="712788" cy="1190625"/>
            </a:xfrm>
            <a:custGeom>
              <a:avLst/>
              <a:gdLst>
                <a:gd name="T0" fmla="*/ 0 w 449"/>
                <a:gd name="T1" fmla="*/ 13 h 750"/>
                <a:gd name="T2" fmla="*/ 426 w 449"/>
                <a:gd name="T3" fmla="*/ 750 h 750"/>
                <a:gd name="T4" fmla="*/ 449 w 449"/>
                <a:gd name="T5" fmla="*/ 736 h 750"/>
                <a:gd name="T6" fmla="*/ 23 w 449"/>
                <a:gd name="T7" fmla="*/ 0 h 750"/>
                <a:gd name="T8" fmla="*/ 0 w 449"/>
                <a:gd name="T9" fmla="*/ 1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9" h="750">
                  <a:moveTo>
                    <a:pt x="0" y="13"/>
                  </a:moveTo>
                  <a:lnTo>
                    <a:pt x="426" y="750"/>
                  </a:lnTo>
                  <a:lnTo>
                    <a:pt x="449" y="736"/>
                  </a:lnTo>
                  <a:lnTo>
                    <a:pt x="23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išḻîḓê"/>
            <p:cNvSpPr/>
            <p:nvPr/>
          </p:nvSpPr>
          <p:spPr bwMode="auto">
            <a:xfrm>
              <a:off x="6000751" y="3668713"/>
              <a:ext cx="714375" cy="1192213"/>
            </a:xfrm>
            <a:custGeom>
              <a:avLst/>
              <a:gdLst>
                <a:gd name="T0" fmla="*/ 0 w 450"/>
                <a:gd name="T1" fmla="*/ 14 h 751"/>
                <a:gd name="T2" fmla="*/ 426 w 450"/>
                <a:gd name="T3" fmla="*/ 751 h 751"/>
                <a:gd name="T4" fmla="*/ 450 w 450"/>
                <a:gd name="T5" fmla="*/ 737 h 751"/>
                <a:gd name="T6" fmla="*/ 23 w 450"/>
                <a:gd name="T7" fmla="*/ 0 h 751"/>
                <a:gd name="T8" fmla="*/ 0 w 450"/>
                <a:gd name="T9" fmla="*/ 14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751">
                  <a:moveTo>
                    <a:pt x="0" y="14"/>
                  </a:moveTo>
                  <a:lnTo>
                    <a:pt x="426" y="751"/>
                  </a:lnTo>
                  <a:lnTo>
                    <a:pt x="450" y="737"/>
                  </a:lnTo>
                  <a:lnTo>
                    <a:pt x="23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ïṥḻiḓé"/>
            <p:cNvSpPr/>
            <p:nvPr/>
          </p:nvSpPr>
          <p:spPr bwMode="auto">
            <a:xfrm>
              <a:off x="6037263" y="3648075"/>
              <a:ext cx="714375" cy="1190625"/>
            </a:xfrm>
            <a:custGeom>
              <a:avLst/>
              <a:gdLst>
                <a:gd name="T0" fmla="*/ 23 w 450"/>
                <a:gd name="T1" fmla="*/ 0 h 750"/>
                <a:gd name="T2" fmla="*/ 450 w 450"/>
                <a:gd name="T3" fmla="*/ 737 h 750"/>
                <a:gd name="T4" fmla="*/ 427 w 450"/>
                <a:gd name="T5" fmla="*/ 750 h 750"/>
                <a:gd name="T6" fmla="*/ 0 w 450"/>
                <a:gd name="T7" fmla="*/ 13 h 750"/>
                <a:gd name="T8" fmla="*/ 23 w 450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750">
                  <a:moveTo>
                    <a:pt x="23" y="0"/>
                  </a:moveTo>
                  <a:lnTo>
                    <a:pt x="450" y="737"/>
                  </a:lnTo>
                  <a:lnTo>
                    <a:pt x="427" y="750"/>
                  </a:lnTo>
                  <a:lnTo>
                    <a:pt x="0" y="1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íṩľíḑe"/>
            <p:cNvSpPr/>
            <p:nvPr/>
          </p:nvSpPr>
          <p:spPr bwMode="auto">
            <a:xfrm>
              <a:off x="6073776" y="3627438"/>
              <a:ext cx="714375" cy="1190625"/>
            </a:xfrm>
            <a:custGeom>
              <a:avLst/>
              <a:gdLst>
                <a:gd name="T0" fmla="*/ 0 w 450"/>
                <a:gd name="T1" fmla="*/ 13 h 750"/>
                <a:gd name="T2" fmla="*/ 427 w 450"/>
                <a:gd name="T3" fmla="*/ 750 h 750"/>
                <a:gd name="T4" fmla="*/ 450 w 450"/>
                <a:gd name="T5" fmla="*/ 737 h 750"/>
                <a:gd name="T6" fmla="*/ 24 w 450"/>
                <a:gd name="T7" fmla="*/ 0 h 750"/>
                <a:gd name="T8" fmla="*/ 0 w 450"/>
                <a:gd name="T9" fmla="*/ 1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750">
                  <a:moveTo>
                    <a:pt x="0" y="13"/>
                  </a:moveTo>
                  <a:lnTo>
                    <a:pt x="427" y="750"/>
                  </a:lnTo>
                  <a:lnTo>
                    <a:pt x="450" y="737"/>
                  </a:lnTo>
                  <a:lnTo>
                    <a:pt x="24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íṥļîḑè"/>
            <p:cNvSpPr/>
            <p:nvPr/>
          </p:nvSpPr>
          <p:spPr bwMode="auto">
            <a:xfrm>
              <a:off x="6148388" y="3584575"/>
              <a:ext cx="711200" cy="1190625"/>
            </a:xfrm>
            <a:custGeom>
              <a:avLst/>
              <a:gdLst>
                <a:gd name="T0" fmla="*/ 0 w 448"/>
                <a:gd name="T1" fmla="*/ 14 h 750"/>
                <a:gd name="T2" fmla="*/ 425 w 448"/>
                <a:gd name="T3" fmla="*/ 750 h 750"/>
                <a:gd name="T4" fmla="*/ 448 w 448"/>
                <a:gd name="T5" fmla="*/ 737 h 750"/>
                <a:gd name="T6" fmla="*/ 23 w 448"/>
                <a:gd name="T7" fmla="*/ 0 h 750"/>
                <a:gd name="T8" fmla="*/ 0 w 448"/>
                <a:gd name="T9" fmla="*/ 14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" h="750">
                  <a:moveTo>
                    <a:pt x="0" y="14"/>
                  </a:moveTo>
                  <a:lnTo>
                    <a:pt x="425" y="750"/>
                  </a:lnTo>
                  <a:lnTo>
                    <a:pt x="448" y="737"/>
                  </a:lnTo>
                  <a:lnTo>
                    <a:pt x="23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ïşḻïḋê"/>
            <p:cNvSpPr/>
            <p:nvPr/>
          </p:nvSpPr>
          <p:spPr bwMode="auto">
            <a:xfrm>
              <a:off x="6111876" y="3606800"/>
              <a:ext cx="711200" cy="1190625"/>
            </a:xfrm>
            <a:custGeom>
              <a:avLst/>
              <a:gdLst>
                <a:gd name="T0" fmla="*/ 23 w 448"/>
                <a:gd name="T1" fmla="*/ 0 h 750"/>
                <a:gd name="T2" fmla="*/ 448 w 448"/>
                <a:gd name="T3" fmla="*/ 736 h 750"/>
                <a:gd name="T4" fmla="*/ 426 w 448"/>
                <a:gd name="T5" fmla="*/ 750 h 750"/>
                <a:gd name="T6" fmla="*/ 0 w 448"/>
                <a:gd name="T7" fmla="*/ 13 h 750"/>
                <a:gd name="T8" fmla="*/ 23 w 448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" h="750">
                  <a:moveTo>
                    <a:pt x="23" y="0"/>
                  </a:moveTo>
                  <a:lnTo>
                    <a:pt x="448" y="736"/>
                  </a:lnTo>
                  <a:lnTo>
                    <a:pt x="426" y="750"/>
                  </a:lnTo>
                  <a:lnTo>
                    <a:pt x="0" y="1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íşlîḓé"/>
            <p:cNvSpPr/>
            <p:nvPr/>
          </p:nvSpPr>
          <p:spPr bwMode="auto">
            <a:xfrm>
              <a:off x="7589838" y="5400675"/>
              <a:ext cx="293688" cy="1458913"/>
            </a:xfrm>
            <a:prstGeom prst="rect">
              <a:avLst/>
            </a:prstGeom>
            <a:solidFill>
              <a:srgbClr val="2157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íṣḷíḑè"/>
            <p:cNvSpPr/>
            <p:nvPr/>
          </p:nvSpPr>
          <p:spPr bwMode="auto">
            <a:xfrm>
              <a:off x="7889876" y="5880100"/>
              <a:ext cx="700088" cy="979488"/>
            </a:xfrm>
            <a:custGeom>
              <a:avLst/>
              <a:gdLst>
                <a:gd name="T0" fmla="*/ 145 w 441"/>
                <a:gd name="T1" fmla="*/ 0 h 617"/>
                <a:gd name="T2" fmla="*/ 0 w 441"/>
                <a:gd name="T3" fmla="*/ 63 h 617"/>
                <a:gd name="T4" fmla="*/ 295 w 441"/>
                <a:gd name="T5" fmla="*/ 617 h 617"/>
                <a:gd name="T6" fmla="*/ 441 w 441"/>
                <a:gd name="T7" fmla="*/ 554 h 617"/>
                <a:gd name="T8" fmla="*/ 145 w 44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617">
                  <a:moveTo>
                    <a:pt x="145" y="0"/>
                  </a:moveTo>
                  <a:lnTo>
                    <a:pt x="0" y="63"/>
                  </a:lnTo>
                  <a:lnTo>
                    <a:pt x="295" y="617"/>
                  </a:lnTo>
                  <a:lnTo>
                    <a:pt x="441" y="554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FFB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ísľíḋè"/>
            <p:cNvSpPr/>
            <p:nvPr/>
          </p:nvSpPr>
          <p:spPr bwMode="auto">
            <a:xfrm>
              <a:off x="6356351" y="5070475"/>
              <a:ext cx="836613" cy="1789113"/>
            </a:xfrm>
            <a:prstGeom prst="rect">
              <a:avLst/>
            </a:prstGeom>
            <a:solidFill>
              <a:srgbClr val="562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iśļîḍe"/>
            <p:cNvSpPr/>
            <p:nvPr/>
          </p:nvSpPr>
          <p:spPr bwMode="auto">
            <a:xfrm>
              <a:off x="6356351" y="5754688"/>
              <a:ext cx="836613" cy="420688"/>
            </a:xfrm>
            <a:prstGeom prst="rect">
              <a:avLst/>
            </a:prstGeom>
            <a:solidFill>
              <a:srgbClr val="866B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îṡlîḓê"/>
            <p:cNvSpPr/>
            <p:nvPr/>
          </p:nvSpPr>
          <p:spPr bwMode="auto">
            <a:xfrm>
              <a:off x="6356351" y="5491163"/>
              <a:ext cx="836613" cy="131763"/>
            </a:xfrm>
            <a:prstGeom prst="rect">
              <a:avLst/>
            </a:prstGeom>
            <a:solidFill>
              <a:srgbClr val="866B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iSlïḓê"/>
            <p:cNvSpPr/>
            <p:nvPr/>
          </p:nvSpPr>
          <p:spPr bwMode="auto">
            <a:xfrm>
              <a:off x="6356351" y="6329363"/>
              <a:ext cx="836613" cy="131763"/>
            </a:xfrm>
            <a:prstGeom prst="rect">
              <a:avLst/>
            </a:prstGeom>
            <a:solidFill>
              <a:srgbClr val="866B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îṣḷïďê"/>
            <p:cNvSpPr/>
            <p:nvPr/>
          </p:nvSpPr>
          <p:spPr bwMode="auto">
            <a:xfrm>
              <a:off x="5740401" y="5227638"/>
              <a:ext cx="615950" cy="1631950"/>
            </a:xfrm>
            <a:prstGeom prst="rect">
              <a:avLst/>
            </a:prstGeom>
            <a:solidFill>
              <a:srgbClr val="3C46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íşḻiḋé"/>
            <p:cNvSpPr/>
            <p:nvPr/>
          </p:nvSpPr>
          <p:spPr bwMode="auto">
            <a:xfrm>
              <a:off x="5911851" y="5437188"/>
              <a:ext cx="273050" cy="1211263"/>
            </a:xfrm>
            <a:prstGeom prst="rect">
              <a:avLst/>
            </a:prstGeom>
            <a:solidFill>
              <a:srgbClr val="21A8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5" name="ïṥḷîḓe"/>
            <p:cNvSpPr/>
            <p:nvPr/>
          </p:nvSpPr>
          <p:spPr bwMode="auto">
            <a:xfrm>
              <a:off x="7192963" y="5281613"/>
              <a:ext cx="384175" cy="1577975"/>
            </a:xfrm>
            <a:prstGeom prst="rect">
              <a:avLst/>
            </a:prstGeom>
            <a:solidFill>
              <a:srgbClr val="C300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6" name="íṣļïdè"/>
            <p:cNvSpPr/>
            <p:nvPr/>
          </p:nvSpPr>
          <p:spPr bwMode="auto">
            <a:xfrm>
              <a:off x="7192963" y="5522913"/>
              <a:ext cx="384175" cy="1096963"/>
            </a:xfrm>
            <a:prstGeom prst="rect">
              <a:avLst/>
            </a:prstGeom>
            <a:solidFill>
              <a:srgbClr val="5100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7" name="íŝḻiḍè"/>
            <p:cNvSpPr/>
            <p:nvPr/>
          </p:nvSpPr>
          <p:spPr bwMode="auto">
            <a:xfrm>
              <a:off x="3367088" y="403225"/>
              <a:ext cx="2298700" cy="1606550"/>
            </a:xfrm>
            <a:custGeom>
              <a:avLst/>
              <a:gdLst>
                <a:gd name="T0" fmla="*/ 37 w 1266"/>
                <a:gd name="T1" fmla="*/ 0 h 886"/>
                <a:gd name="T2" fmla="*/ 633 w 1266"/>
                <a:gd name="T3" fmla="*/ 0 h 886"/>
                <a:gd name="T4" fmla="*/ 1229 w 1266"/>
                <a:gd name="T5" fmla="*/ 0 h 886"/>
                <a:gd name="T6" fmla="*/ 1266 w 1266"/>
                <a:gd name="T7" fmla="*/ 36 h 886"/>
                <a:gd name="T8" fmla="*/ 1266 w 1266"/>
                <a:gd name="T9" fmla="*/ 849 h 886"/>
                <a:gd name="T10" fmla="*/ 1229 w 1266"/>
                <a:gd name="T11" fmla="*/ 886 h 886"/>
                <a:gd name="T12" fmla="*/ 633 w 1266"/>
                <a:gd name="T13" fmla="*/ 886 h 886"/>
                <a:gd name="T14" fmla="*/ 37 w 1266"/>
                <a:gd name="T15" fmla="*/ 886 h 886"/>
                <a:gd name="T16" fmla="*/ 0 w 1266"/>
                <a:gd name="T17" fmla="*/ 849 h 886"/>
                <a:gd name="T18" fmla="*/ 0 w 1266"/>
                <a:gd name="T19" fmla="*/ 36 h 886"/>
                <a:gd name="T20" fmla="*/ 37 w 1266"/>
                <a:gd name="T21" fmla="*/ 0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886">
                  <a:moveTo>
                    <a:pt x="37" y="0"/>
                  </a:moveTo>
                  <a:cubicBezTo>
                    <a:pt x="633" y="0"/>
                    <a:pt x="633" y="0"/>
                    <a:pt x="633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50" y="0"/>
                    <a:pt x="1266" y="16"/>
                    <a:pt x="1266" y="36"/>
                  </a:cubicBezTo>
                  <a:cubicBezTo>
                    <a:pt x="1266" y="849"/>
                    <a:pt x="1266" y="849"/>
                    <a:pt x="1266" y="849"/>
                  </a:cubicBezTo>
                  <a:cubicBezTo>
                    <a:pt x="1266" y="870"/>
                    <a:pt x="1250" y="886"/>
                    <a:pt x="1229" y="886"/>
                  </a:cubicBezTo>
                  <a:cubicBezTo>
                    <a:pt x="633" y="886"/>
                    <a:pt x="633" y="886"/>
                    <a:pt x="633" y="886"/>
                  </a:cubicBezTo>
                  <a:cubicBezTo>
                    <a:pt x="37" y="886"/>
                    <a:pt x="37" y="886"/>
                    <a:pt x="37" y="886"/>
                  </a:cubicBezTo>
                  <a:cubicBezTo>
                    <a:pt x="16" y="886"/>
                    <a:pt x="0" y="870"/>
                    <a:pt x="0" y="84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7" y="0"/>
                  </a:cubicBezTo>
                  <a:close/>
                </a:path>
              </a:pathLst>
            </a:custGeom>
            <a:solidFill>
              <a:srgbClr val="F99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8" name="íṩľîḓé"/>
            <p:cNvSpPr/>
            <p:nvPr/>
          </p:nvSpPr>
          <p:spPr bwMode="auto">
            <a:xfrm>
              <a:off x="3313113" y="382588"/>
              <a:ext cx="2406650" cy="701675"/>
            </a:xfrm>
            <a:custGeom>
              <a:avLst/>
              <a:gdLst>
                <a:gd name="T0" fmla="*/ 57 w 1324"/>
                <a:gd name="T1" fmla="*/ 0 h 387"/>
                <a:gd name="T2" fmla="*/ 662 w 1324"/>
                <a:gd name="T3" fmla="*/ 0 h 387"/>
                <a:gd name="T4" fmla="*/ 1267 w 1324"/>
                <a:gd name="T5" fmla="*/ 0 h 387"/>
                <a:gd name="T6" fmla="*/ 1324 w 1324"/>
                <a:gd name="T7" fmla="*/ 57 h 387"/>
                <a:gd name="T8" fmla="*/ 1324 w 1324"/>
                <a:gd name="T9" fmla="*/ 330 h 387"/>
                <a:gd name="T10" fmla="*/ 1267 w 1324"/>
                <a:gd name="T11" fmla="*/ 387 h 387"/>
                <a:gd name="T12" fmla="*/ 662 w 1324"/>
                <a:gd name="T13" fmla="*/ 387 h 387"/>
                <a:gd name="T14" fmla="*/ 57 w 1324"/>
                <a:gd name="T15" fmla="*/ 387 h 387"/>
                <a:gd name="T16" fmla="*/ 0 w 1324"/>
                <a:gd name="T17" fmla="*/ 330 h 387"/>
                <a:gd name="T18" fmla="*/ 0 w 1324"/>
                <a:gd name="T19" fmla="*/ 57 h 387"/>
                <a:gd name="T20" fmla="*/ 57 w 1324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4" h="387">
                  <a:moveTo>
                    <a:pt x="57" y="0"/>
                  </a:moveTo>
                  <a:cubicBezTo>
                    <a:pt x="662" y="0"/>
                    <a:pt x="662" y="0"/>
                    <a:pt x="662" y="0"/>
                  </a:cubicBezTo>
                  <a:cubicBezTo>
                    <a:pt x="1267" y="0"/>
                    <a:pt x="1267" y="0"/>
                    <a:pt x="1267" y="0"/>
                  </a:cubicBezTo>
                  <a:cubicBezTo>
                    <a:pt x="1298" y="0"/>
                    <a:pt x="1324" y="26"/>
                    <a:pt x="1324" y="57"/>
                  </a:cubicBezTo>
                  <a:cubicBezTo>
                    <a:pt x="1324" y="330"/>
                    <a:pt x="1324" y="330"/>
                    <a:pt x="1324" y="330"/>
                  </a:cubicBezTo>
                  <a:cubicBezTo>
                    <a:pt x="1324" y="361"/>
                    <a:pt x="1298" y="387"/>
                    <a:pt x="1267" y="387"/>
                  </a:cubicBezTo>
                  <a:cubicBezTo>
                    <a:pt x="662" y="387"/>
                    <a:pt x="662" y="387"/>
                    <a:pt x="662" y="387"/>
                  </a:cubicBezTo>
                  <a:cubicBezTo>
                    <a:pt x="57" y="387"/>
                    <a:pt x="57" y="387"/>
                    <a:pt x="57" y="387"/>
                  </a:cubicBezTo>
                  <a:cubicBezTo>
                    <a:pt x="26" y="387"/>
                    <a:pt x="0" y="361"/>
                    <a:pt x="0" y="33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lose/>
                </a:path>
              </a:pathLst>
            </a:custGeom>
            <a:solidFill>
              <a:srgbClr val="E488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îślîḋè"/>
            <p:cNvSpPr/>
            <p:nvPr/>
          </p:nvSpPr>
          <p:spPr bwMode="auto">
            <a:xfrm>
              <a:off x="3313113" y="569913"/>
              <a:ext cx="2406650" cy="407988"/>
            </a:xfrm>
            <a:custGeom>
              <a:avLst/>
              <a:gdLst>
                <a:gd name="T0" fmla="*/ 33 w 1324"/>
                <a:gd name="T1" fmla="*/ 0 h 225"/>
                <a:gd name="T2" fmla="*/ 662 w 1324"/>
                <a:gd name="T3" fmla="*/ 0 h 225"/>
                <a:gd name="T4" fmla="*/ 1291 w 1324"/>
                <a:gd name="T5" fmla="*/ 0 h 225"/>
                <a:gd name="T6" fmla="*/ 1324 w 1324"/>
                <a:gd name="T7" fmla="*/ 34 h 225"/>
                <a:gd name="T8" fmla="*/ 1324 w 1324"/>
                <a:gd name="T9" fmla="*/ 192 h 225"/>
                <a:gd name="T10" fmla="*/ 1291 w 1324"/>
                <a:gd name="T11" fmla="*/ 225 h 225"/>
                <a:gd name="T12" fmla="*/ 662 w 1324"/>
                <a:gd name="T13" fmla="*/ 225 h 225"/>
                <a:gd name="T14" fmla="*/ 33 w 1324"/>
                <a:gd name="T15" fmla="*/ 225 h 225"/>
                <a:gd name="T16" fmla="*/ 0 w 1324"/>
                <a:gd name="T17" fmla="*/ 192 h 225"/>
                <a:gd name="T18" fmla="*/ 0 w 1324"/>
                <a:gd name="T19" fmla="*/ 34 h 225"/>
                <a:gd name="T20" fmla="*/ 33 w 1324"/>
                <a:gd name="T2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4" h="225">
                  <a:moveTo>
                    <a:pt x="33" y="0"/>
                  </a:moveTo>
                  <a:cubicBezTo>
                    <a:pt x="662" y="0"/>
                    <a:pt x="662" y="0"/>
                    <a:pt x="662" y="0"/>
                  </a:cubicBezTo>
                  <a:cubicBezTo>
                    <a:pt x="1291" y="0"/>
                    <a:pt x="1291" y="0"/>
                    <a:pt x="1291" y="0"/>
                  </a:cubicBezTo>
                  <a:cubicBezTo>
                    <a:pt x="1309" y="0"/>
                    <a:pt x="1324" y="15"/>
                    <a:pt x="1324" y="34"/>
                  </a:cubicBezTo>
                  <a:cubicBezTo>
                    <a:pt x="1324" y="192"/>
                    <a:pt x="1324" y="192"/>
                    <a:pt x="1324" y="192"/>
                  </a:cubicBezTo>
                  <a:cubicBezTo>
                    <a:pt x="1324" y="210"/>
                    <a:pt x="1309" y="225"/>
                    <a:pt x="1291" y="225"/>
                  </a:cubicBezTo>
                  <a:cubicBezTo>
                    <a:pt x="662" y="225"/>
                    <a:pt x="662" y="225"/>
                    <a:pt x="662" y="225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15" y="225"/>
                    <a:pt x="0" y="210"/>
                    <a:pt x="0" y="19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lose/>
                </a:path>
              </a:pathLst>
            </a:custGeom>
            <a:solidFill>
              <a:srgbClr val="F99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íṩ1îḓè"/>
            <p:cNvSpPr/>
            <p:nvPr/>
          </p:nvSpPr>
          <p:spPr bwMode="auto">
            <a:xfrm>
              <a:off x="3733801" y="350838"/>
              <a:ext cx="1565275" cy="1574800"/>
            </a:xfrm>
            <a:custGeom>
              <a:avLst/>
              <a:gdLst>
                <a:gd name="T0" fmla="*/ 833 w 862"/>
                <a:gd name="T1" fmla="*/ 0 h 868"/>
                <a:gd name="T2" fmla="*/ 792 w 862"/>
                <a:gd name="T3" fmla="*/ 0 h 868"/>
                <a:gd name="T4" fmla="*/ 764 w 862"/>
                <a:gd name="T5" fmla="*/ 29 h 868"/>
                <a:gd name="T6" fmla="*/ 764 w 862"/>
                <a:gd name="T7" fmla="*/ 839 h 868"/>
                <a:gd name="T8" fmla="*/ 792 w 862"/>
                <a:gd name="T9" fmla="*/ 868 h 868"/>
                <a:gd name="T10" fmla="*/ 833 w 862"/>
                <a:gd name="T11" fmla="*/ 868 h 868"/>
                <a:gd name="T12" fmla="*/ 862 w 862"/>
                <a:gd name="T13" fmla="*/ 839 h 868"/>
                <a:gd name="T14" fmla="*/ 862 w 862"/>
                <a:gd name="T15" fmla="*/ 29 h 868"/>
                <a:gd name="T16" fmla="*/ 833 w 862"/>
                <a:gd name="T17" fmla="*/ 0 h 868"/>
                <a:gd name="T18" fmla="*/ 29 w 862"/>
                <a:gd name="T19" fmla="*/ 0 h 868"/>
                <a:gd name="T20" fmla="*/ 70 w 862"/>
                <a:gd name="T21" fmla="*/ 0 h 868"/>
                <a:gd name="T22" fmla="*/ 98 w 862"/>
                <a:gd name="T23" fmla="*/ 29 h 868"/>
                <a:gd name="T24" fmla="*/ 98 w 862"/>
                <a:gd name="T25" fmla="*/ 839 h 868"/>
                <a:gd name="T26" fmla="*/ 70 w 862"/>
                <a:gd name="T27" fmla="*/ 868 h 868"/>
                <a:gd name="T28" fmla="*/ 29 w 862"/>
                <a:gd name="T29" fmla="*/ 868 h 868"/>
                <a:gd name="T30" fmla="*/ 0 w 862"/>
                <a:gd name="T31" fmla="*/ 839 h 868"/>
                <a:gd name="T32" fmla="*/ 0 w 862"/>
                <a:gd name="T33" fmla="*/ 29 h 868"/>
                <a:gd name="T34" fmla="*/ 29 w 862"/>
                <a:gd name="T35" fmla="*/ 0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2" h="868">
                  <a:moveTo>
                    <a:pt x="833" y="0"/>
                  </a:moveTo>
                  <a:cubicBezTo>
                    <a:pt x="792" y="0"/>
                    <a:pt x="792" y="0"/>
                    <a:pt x="792" y="0"/>
                  </a:cubicBezTo>
                  <a:cubicBezTo>
                    <a:pt x="776" y="0"/>
                    <a:pt x="764" y="13"/>
                    <a:pt x="764" y="29"/>
                  </a:cubicBezTo>
                  <a:cubicBezTo>
                    <a:pt x="764" y="839"/>
                    <a:pt x="764" y="839"/>
                    <a:pt x="764" y="839"/>
                  </a:cubicBezTo>
                  <a:cubicBezTo>
                    <a:pt x="764" y="855"/>
                    <a:pt x="776" y="868"/>
                    <a:pt x="792" y="868"/>
                  </a:cubicBezTo>
                  <a:cubicBezTo>
                    <a:pt x="833" y="868"/>
                    <a:pt x="833" y="868"/>
                    <a:pt x="833" y="868"/>
                  </a:cubicBezTo>
                  <a:cubicBezTo>
                    <a:pt x="849" y="868"/>
                    <a:pt x="862" y="855"/>
                    <a:pt x="862" y="839"/>
                  </a:cubicBezTo>
                  <a:cubicBezTo>
                    <a:pt x="862" y="29"/>
                    <a:pt x="862" y="29"/>
                    <a:pt x="862" y="29"/>
                  </a:cubicBezTo>
                  <a:cubicBezTo>
                    <a:pt x="862" y="13"/>
                    <a:pt x="849" y="0"/>
                    <a:pt x="833" y="0"/>
                  </a:cubicBezTo>
                  <a:close/>
                  <a:moveTo>
                    <a:pt x="29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86" y="0"/>
                    <a:pt x="98" y="13"/>
                    <a:pt x="98" y="29"/>
                  </a:cubicBezTo>
                  <a:cubicBezTo>
                    <a:pt x="98" y="839"/>
                    <a:pt x="98" y="839"/>
                    <a:pt x="98" y="839"/>
                  </a:cubicBezTo>
                  <a:cubicBezTo>
                    <a:pt x="98" y="855"/>
                    <a:pt x="86" y="868"/>
                    <a:pt x="70" y="868"/>
                  </a:cubicBezTo>
                  <a:cubicBezTo>
                    <a:pt x="29" y="868"/>
                    <a:pt x="29" y="868"/>
                    <a:pt x="29" y="868"/>
                  </a:cubicBezTo>
                  <a:cubicBezTo>
                    <a:pt x="13" y="868"/>
                    <a:pt x="0" y="855"/>
                    <a:pt x="0" y="83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rgbClr val="B96F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iṩliḑe"/>
            <p:cNvSpPr/>
            <p:nvPr/>
          </p:nvSpPr>
          <p:spPr bwMode="auto">
            <a:xfrm>
              <a:off x="3663951" y="665163"/>
              <a:ext cx="1704975" cy="812800"/>
            </a:xfrm>
            <a:custGeom>
              <a:avLst/>
              <a:gdLst>
                <a:gd name="T0" fmla="*/ 75 w 938"/>
                <a:gd name="T1" fmla="*/ 308 h 448"/>
                <a:gd name="T2" fmla="*/ 80 w 938"/>
                <a:gd name="T3" fmla="*/ 329 h 448"/>
                <a:gd name="T4" fmla="*/ 85 w 938"/>
                <a:gd name="T5" fmla="*/ 324 h 448"/>
                <a:gd name="T6" fmla="*/ 127 w 938"/>
                <a:gd name="T7" fmla="*/ 308 h 448"/>
                <a:gd name="T8" fmla="*/ 144 w 938"/>
                <a:gd name="T9" fmla="*/ 418 h 448"/>
                <a:gd name="T10" fmla="*/ 34 w 938"/>
                <a:gd name="T11" fmla="*/ 435 h 448"/>
                <a:gd name="T12" fmla="*/ 17 w 938"/>
                <a:gd name="T13" fmla="*/ 325 h 448"/>
                <a:gd name="T14" fmla="*/ 858 w 938"/>
                <a:gd name="T15" fmla="*/ 281 h 448"/>
                <a:gd name="T16" fmla="*/ 853 w 938"/>
                <a:gd name="T17" fmla="*/ 285 h 448"/>
                <a:gd name="T18" fmla="*/ 802 w 938"/>
                <a:gd name="T19" fmla="*/ 295 h 448"/>
                <a:gd name="T20" fmla="*/ 781 w 938"/>
                <a:gd name="T21" fmla="*/ 428 h 448"/>
                <a:gd name="T22" fmla="*/ 914 w 938"/>
                <a:gd name="T23" fmla="*/ 448 h 448"/>
                <a:gd name="T24" fmla="*/ 934 w 938"/>
                <a:gd name="T25" fmla="*/ 315 h 448"/>
                <a:gd name="T26" fmla="*/ 862 w 938"/>
                <a:gd name="T27" fmla="*/ 295 h 448"/>
                <a:gd name="T28" fmla="*/ 858 w 938"/>
                <a:gd name="T29" fmla="*/ 281 h 448"/>
                <a:gd name="T30" fmla="*/ 792 w 938"/>
                <a:gd name="T31" fmla="*/ 0 h 448"/>
                <a:gd name="T32" fmla="*/ 764 w 938"/>
                <a:gd name="T33" fmla="*/ 35 h 448"/>
                <a:gd name="T34" fmla="*/ 909 w 938"/>
                <a:gd name="T35" fmla="*/ 64 h 448"/>
                <a:gd name="T36" fmla="*/ 938 w 938"/>
                <a:gd name="T37" fmla="*/ 29 h 448"/>
                <a:gd name="T38" fmla="*/ 853 w 938"/>
                <a:gd name="T39" fmla="*/ 308 h 448"/>
                <a:gd name="T40" fmla="*/ 858 w 938"/>
                <a:gd name="T41" fmla="*/ 329 h 448"/>
                <a:gd name="T42" fmla="*/ 862 w 938"/>
                <a:gd name="T43" fmla="*/ 324 h 448"/>
                <a:gd name="T44" fmla="*/ 904 w 938"/>
                <a:gd name="T45" fmla="*/ 308 h 448"/>
                <a:gd name="T46" fmla="*/ 921 w 938"/>
                <a:gd name="T47" fmla="*/ 418 h 448"/>
                <a:gd name="T48" fmla="*/ 811 w 938"/>
                <a:gd name="T49" fmla="*/ 435 h 448"/>
                <a:gd name="T50" fmla="*/ 794 w 938"/>
                <a:gd name="T51" fmla="*/ 325 h 448"/>
                <a:gd name="T52" fmla="*/ 853 w 938"/>
                <a:gd name="T53" fmla="*/ 308 h 448"/>
                <a:gd name="T54" fmla="*/ 146 w 938"/>
                <a:gd name="T55" fmla="*/ 0 h 448"/>
                <a:gd name="T56" fmla="*/ 174 w 938"/>
                <a:gd name="T57" fmla="*/ 35 h 448"/>
                <a:gd name="T58" fmla="*/ 29 w 938"/>
                <a:gd name="T59" fmla="*/ 64 h 448"/>
                <a:gd name="T60" fmla="*/ 0 w 938"/>
                <a:gd name="T61" fmla="*/ 29 h 448"/>
                <a:gd name="T62" fmla="*/ 80 w 938"/>
                <a:gd name="T63" fmla="*/ 281 h 448"/>
                <a:gd name="T64" fmla="*/ 85 w 938"/>
                <a:gd name="T65" fmla="*/ 285 h 448"/>
                <a:gd name="T66" fmla="*/ 136 w 938"/>
                <a:gd name="T67" fmla="*/ 295 h 448"/>
                <a:gd name="T68" fmla="*/ 157 w 938"/>
                <a:gd name="T69" fmla="*/ 428 h 448"/>
                <a:gd name="T70" fmla="*/ 24 w 938"/>
                <a:gd name="T71" fmla="*/ 448 h 448"/>
                <a:gd name="T72" fmla="*/ 4 w 938"/>
                <a:gd name="T73" fmla="*/ 315 h 448"/>
                <a:gd name="T74" fmla="*/ 75 w 938"/>
                <a:gd name="T75" fmla="*/ 295 h 448"/>
                <a:gd name="T76" fmla="*/ 80 w 938"/>
                <a:gd name="T77" fmla="*/ 28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38" h="448">
                  <a:moveTo>
                    <a:pt x="34" y="308"/>
                  </a:moveTo>
                  <a:cubicBezTo>
                    <a:pt x="75" y="308"/>
                    <a:pt x="75" y="308"/>
                    <a:pt x="75" y="308"/>
                  </a:cubicBezTo>
                  <a:cubicBezTo>
                    <a:pt x="75" y="324"/>
                    <a:pt x="75" y="324"/>
                    <a:pt x="75" y="324"/>
                  </a:cubicBezTo>
                  <a:cubicBezTo>
                    <a:pt x="75" y="327"/>
                    <a:pt x="78" y="329"/>
                    <a:pt x="80" y="329"/>
                  </a:cubicBezTo>
                  <a:cubicBezTo>
                    <a:pt x="80" y="329"/>
                    <a:pt x="80" y="329"/>
                    <a:pt x="80" y="329"/>
                  </a:cubicBezTo>
                  <a:cubicBezTo>
                    <a:pt x="83" y="329"/>
                    <a:pt x="85" y="327"/>
                    <a:pt x="85" y="324"/>
                  </a:cubicBezTo>
                  <a:cubicBezTo>
                    <a:pt x="85" y="308"/>
                    <a:pt x="85" y="308"/>
                    <a:pt x="85" y="308"/>
                  </a:cubicBezTo>
                  <a:cubicBezTo>
                    <a:pt x="127" y="308"/>
                    <a:pt x="127" y="308"/>
                    <a:pt x="127" y="308"/>
                  </a:cubicBezTo>
                  <a:cubicBezTo>
                    <a:pt x="136" y="308"/>
                    <a:pt x="144" y="316"/>
                    <a:pt x="144" y="325"/>
                  </a:cubicBezTo>
                  <a:cubicBezTo>
                    <a:pt x="144" y="418"/>
                    <a:pt x="144" y="418"/>
                    <a:pt x="144" y="418"/>
                  </a:cubicBezTo>
                  <a:cubicBezTo>
                    <a:pt x="144" y="427"/>
                    <a:pt x="136" y="435"/>
                    <a:pt x="127" y="435"/>
                  </a:cubicBezTo>
                  <a:cubicBezTo>
                    <a:pt x="34" y="435"/>
                    <a:pt x="34" y="435"/>
                    <a:pt x="34" y="435"/>
                  </a:cubicBezTo>
                  <a:cubicBezTo>
                    <a:pt x="25" y="435"/>
                    <a:pt x="17" y="427"/>
                    <a:pt x="17" y="418"/>
                  </a:cubicBezTo>
                  <a:cubicBezTo>
                    <a:pt x="17" y="325"/>
                    <a:pt x="17" y="325"/>
                    <a:pt x="17" y="325"/>
                  </a:cubicBezTo>
                  <a:cubicBezTo>
                    <a:pt x="17" y="316"/>
                    <a:pt x="25" y="308"/>
                    <a:pt x="34" y="308"/>
                  </a:cubicBezTo>
                  <a:close/>
                  <a:moveTo>
                    <a:pt x="858" y="281"/>
                  </a:moveTo>
                  <a:cubicBezTo>
                    <a:pt x="858" y="281"/>
                    <a:pt x="858" y="281"/>
                    <a:pt x="858" y="281"/>
                  </a:cubicBezTo>
                  <a:cubicBezTo>
                    <a:pt x="855" y="281"/>
                    <a:pt x="853" y="283"/>
                    <a:pt x="853" y="285"/>
                  </a:cubicBezTo>
                  <a:cubicBezTo>
                    <a:pt x="853" y="295"/>
                    <a:pt x="853" y="295"/>
                    <a:pt x="853" y="295"/>
                  </a:cubicBezTo>
                  <a:cubicBezTo>
                    <a:pt x="802" y="295"/>
                    <a:pt x="802" y="295"/>
                    <a:pt x="802" y="295"/>
                  </a:cubicBezTo>
                  <a:cubicBezTo>
                    <a:pt x="790" y="295"/>
                    <a:pt x="781" y="304"/>
                    <a:pt x="781" y="315"/>
                  </a:cubicBezTo>
                  <a:cubicBezTo>
                    <a:pt x="781" y="428"/>
                    <a:pt x="781" y="428"/>
                    <a:pt x="781" y="428"/>
                  </a:cubicBezTo>
                  <a:cubicBezTo>
                    <a:pt x="781" y="439"/>
                    <a:pt x="790" y="448"/>
                    <a:pt x="802" y="448"/>
                  </a:cubicBezTo>
                  <a:cubicBezTo>
                    <a:pt x="914" y="448"/>
                    <a:pt x="914" y="448"/>
                    <a:pt x="914" y="448"/>
                  </a:cubicBezTo>
                  <a:cubicBezTo>
                    <a:pt x="925" y="448"/>
                    <a:pt x="934" y="439"/>
                    <a:pt x="934" y="428"/>
                  </a:cubicBezTo>
                  <a:cubicBezTo>
                    <a:pt x="934" y="315"/>
                    <a:pt x="934" y="315"/>
                    <a:pt x="934" y="315"/>
                  </a:cubicBezTo>
                  <a:cubicBezTo>
                    <a:pt x="934" y="304"/>
                    <a:pt x="925" y="295"/>
                    <a:pt x="914" y="295"/>
                  </a:cubicBezTo>
                  <a:cubicBezTo>
                    <a:pt x="862" y="295"/>
                    <a:pt x="862" y="295"/>
                    <a:pt x="862" y="295"/>
                  </a:cubicBezTo>
                  <a:cubicBezTo>
                    <a:pt x="862" y="285"/>
                    <a:pt x="862" y="285"/>
                    <a:pt x="862" y="285"/>
                  </a:cubicBezTo>
                  <a:cubicBezTo>
                    <a:pt x="862" y="283"/>
                    <a:pt x="860" y="281"/>
                    <a:pt x="858" y="281"/>
                  </a:cubicBezTo>
                  <a:close/>
                  <a:moveTo>
                    <a:pt x="909" y="0"/>
                  </a:moveTo>
                  <a:cubicBezTo>
                    <a:pt x="792" y="0"/>
                    <a:pt x="792" y="0"/>
                    <a:pt x="792" y="0"/>
                  </a:cubicBezTo>
                  <a:cubicBezTo>
                    <a:pt x="776" y="0"/>
                    <a:pt x="764" y="13"/>
                    <a:pt x="764" y="29"/>
                  </a:cubicBezTo>
                  <a:cubicBezTo>
                    <a:pt x="764" y="35"/>
                    <a:pt x="764" y="35"/>
                    <a:pt x="764" y="35"/>
                  </a:cubicBezTo>
                  <a:cubicBezTo>
                    <a:pt x="764" y="51"/>
                    <a:pt x="776" y="64"/>
                    <a:pt x="792" y="64"/>
                  </a:cubicBezTo>
                  <a:cubicBezTo>
                    <a:pt x="909" y="64"/>
                    <a:pt x="909" y="64"/>
                    <a:pt x="909" y="64"/>
                  </a:cubicBezTo>
                  <a:cubicBezTo>
                    <a:pt x="925" y="64"/>
                    <a:pt x="938" y="51"/>
                    <a:pt x="938" y="35"/>
                  </a:cubicBezTo>
                  <a:cubicBezTo>
                    <a:pt x="938" y="29"/>
                    <a:pt x="938" y="29"/>
                    <a:pt x="938" y="29"/>
                  </a:cubicBezTo>
                  <a:cubicBezTo>
                    <a:pt x="938" y="13"/>
                    <a:pt x="925" y="0"/>
                    <a:pt x="909" y="0"/>
                  </a:cubicBezTo>
                  <a:close/>
                  <a:moveTo>
                    <a:pt x="853" y="308"/>
                  </a:moveTo>
                  <a:cubicBezTo>
                    <a:pt x="853" y="324"/>
                    <a:pt x="853" y="324"/>
                    <a:pt x="853" y="324"/>
                  </a:cubicBezTo>
                  <a:cubicBezTo>
                    <a:pt x="853" y="327"/>
                    <a:pt x="855" y="329"/>
                    <a:pt x="858" y="329"/>
                  </a:cubicBezTo>
                  <a:cubicBezTo>
                    <a:pt x="858" y="329"/>
                    <a:pt x="858" y="329"/>
                    <a:pt x="858" y="329"/>
                  </a:cubicBezTo>
                  <a:cubicBezTo>
                    <a:pt x="860" y="329"/>
                    <a:pt x="862" y="327"/>
                    <a:pt x="862" y="324"/>
                  </a:cubicBezTo>
                  <a:cubicBezTo>
                    <a:pt x="862" y="308"/>
                    <a:pt x="862" y="308"/>
                    <a:pt x="862" y="308"/>
                  </a:cubicBezTo>
                  <a:cubicBezTo>
                    <a:pt x="904" y="308"/>
                    <a:pt x="904" y="308"/>
                    <a:pt x="904" y="308"/>
                  </a:cubicBezTo>
                  <a:cubicBezTo>
                    <a:pt x="913" y="308"/>
                    <a:pt x="921" y="316"/>
                    <a:pt x="921" y="325"/>
                  </a:cubicBezTo>
                  <a:cubicBezTo>
                    <a:pt x="921" y="418"/>
                    <a:pt x="921" y="418"/>
                    <a:pt x="921" y="418"/>
                  </a:cubicBezTo>
                  <a:cubicBezTo>
                    <a:pt x="921" y="427"/>
                    <a:pt x="913" y="435"/>
                    <a:pt x="904" y="435"/>
                  </a:cubicBezTo>
                  <a:cubicBezTo>
                    <a:pt x="811" y="435"/>
                    <a:pt x="811" y="435"/>
                    <a:pt x="811" y="435"/>
                  </a:cubicBezTo>
                  <a:cubicBezTo>
                    <a:pt x="802" y="435"/>
                    <a:pt x="794" y="427"/>
                    <a:pt x="794" y="418"/>
                  </a:cubicBezTo>
                  <a:cubicBezTo>
                    <a:pt x="794" y="325"/>
                    <a:pt x="794" y="325"/>
                    <a:pt x="794" y="325"/>
                  </a:cubicBezTo>
                  <a:cubicBezTo>
                    <a:pt x="794" y="316"/>
                    <a:pt x="802" y="308"/>
                    <a:pt x="811" y="308"/>
                  </a:cubicBezTo>
                  <a:lnTo>
                    <a:pt x="853" y="308"/>
                  </a:lnTo>
                  <a:close/>
                  <a:moveTo>
                    <a:pt x="29" y="0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62" y="0"/>
                    <a:pt x="174" y="13"/>
                    <a:pt x="174" y="29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51"/>
                    <a:pt x="162" y="64"/>
                    <a:pt x="146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3" y="64"/>
                    <a:pt x="0" y="51"/>
                    <a:pt x="0" y="3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  <a:moveTo>
                    <a:pt x="80" y="281"/>
                  </a:moveTo>
                  <a:cubicBezTo>
                    <a:pt x="80" y="281"/>
                    <a:pt x="80" y="281"/>
                    <a:pt x="80" y="281"/>
                  </a:cubicBezTo>
                  <a:cubicBezTo>
                    <a:pt x="83" y="281"/>
                    <a:pt x="85" y="283"/>
                    <a:pt x="85" y="285"/>
                  </a:cubicBezTo>
                  <a:cubicBezTo>
                    <a:pt x="85" y="295"/>
                    <a:pt x="85" y="295"/>
                    <a:pt x="85" y="295"/>
                  </a:cubicBezTo>
                  <a:cubicBezTo>
                    <a:pt x="136" y="295"/>
                    <a:pt x="136" y="295"/>
                    <a:pt x="136" y="295"/>
                  </a:cubicBezTo>
                  <a:cubicBezTo>
                    <a:pt x="148" y="295"/>
                    <a:pt x="157" y="304"/>
                    <a:pt x="157" y="315"/>
                  </a:cubicBezTo>
                  <a:cubicBezTo>
                    <a:pt x="157" y="428"/>
                    <a:pt x="157" y="428"/>
                    <a:pt x="157" y="428"/>
                  </a:cubicBezTo>
                  <a:cubicBezTo>
                    <a:pt x="157" y="439"/>
                    <a:pt x="148" y="448"/>
                    <a:pt x="136" y="448"/>
                  </a:cubicBezTo>
                  <a:cubicBezTo>
                    <a:pt x="24" y="448"/>
                    <a:pt x="24" y="448"/>
                    <a:pt x="24" y="448"/>
                  </a:cubicBezTo>
                  <a:cubicBezTo>
                    <a:pt x="13" y="448"/>
                    <a:pt x="4" y="439"/>
                    <a:pt x="4" y="428"/>
                  </a:cubicBezTo>
                  <a:cubicBezTo>
                    <a:pt x="4" y="315"/>
                    <a:pt x="4" y="315"/>
                    <a:pt x="4" y="315"/>
                  </a:cubicBezTo>
                  <a:cubicBezTo>
                    <a:pt x="4" y="304"/>
                    <a:pt x="13" y="295"/>
                    <a:pt x="24" y="295"/>
                  </a:cubicBezTo>
                  <a:cubicBezTo>
                    <a:pt x="75" y="295"/>
                    <a:pt x="75" y="295"/>
                    <a:pt x="75" y="295"/>
                  </a:cubicBezTo>
                  <a:cubicBezTo>
                    <a:pt x="75" y="285"/>
                    <a:pt x="75" y="285"/>
                    <a:pt x="75" y="285"/>
                  </a:cubicBezTo>
                  <a:cubicBezTo>
                    <a:pt x="75" y="283"/>
                    <a:pt x="78" y="281"/>
                    <a:pt x="80" y="281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iṣľíḑe"/>
            <p:cNvSpPr/>
            <p:nvPr/>
          </p:nvSpPr>
          <p:spPr bwMode="auto">
            <a:xfrm>
              <a:off x="3970338" y="-38100"/>
              <a:ext cx="1092200" cy="479425"/>
            </a:xfrm>
            <a:custGeom>
              <a:avLst/>
              <a:gdLst>
                <a:gd name="T0" fmla="*/ 588 w 602"/>
                <a:gd name="T1" fmla="*/ 182 h 264"/>
                <a:gd name="T2" fmla="*/ 584 w 602"/>
                <a:gd name="T3" fmla="*/ 182 h 264"/>
                <a:gd name="T4" fmla="*/ 584 w 602"/>
                <a:gd name="T5" fmla="*/ 89 h 264"/>
                <a:gd name="T6" fmla="*/ 583 w 602"/>
                <a:gd name="T7" fmla="*/ 89 h 264"/>
                <a:gd name="T8" fmla="*/ 18 w 602"/>
                <a:gd name="T9" fmla="*/ 89 h 264"/>
                <a:gd name="T10" fmla="*/ 18 w 602"/>
                <a:gd name="T11" fmla="*/ 89 h 264"/>
                <a:gd name="T12" fmla="*/ 18 w 602"/>
                <a:gd name="T13" fmla="*/ 182 h 264"/>
                <a:gd name="T14" fmla="*/ 14 w 602"/>
                <a:gd name="T15" fmla="*/ 182 h 264"/>
                <a:gd name="T16" fmla="*/ 0 w 602"/>
                <a:gd name="T17" fmla="*/ 195 h 264"/>
                <a:gd name="T18" fmla="*/ 0 w 602"/>
                <a:gd name="T19" fmla="*/ 251 h 264"/>
                <a:gd name="T20" fmla="*/ 14 w 602"/>
                <a:gd name="T21" fmla="*/ 264 h 264"/>
                <a:gd name="T22" fmla="*/ 49 w 602"/>
                <a:gd name="T23" fmla="*/ 264 h 264"/>
                <a:gd name="T24" fmla="*/ 63 w 602"/>
                <a:gd name="T25" fmla="*/ 251 h 264"/>
                <a:gd name="T26" fmla="*/ 63 w 602"/>
                <a:gd name="T27" fmla="*/ 195 h 264"/>
                <a:gd name="T28" fmla="*/ 49 w 602"/>
                <a:gd name="T29" fmla="*/ 182 h 264"/>
                <a:gd name="T30" fmla="*/ 42 w 602"/>
                <a:gd name="T31" fmla="*/ 182 h 264"/>
                <a:gd name="T32" fmla="*/ 42 w 602"/>
                <a:gd name="T33" fmla="*/ 129 h 264"/>
                <a:gd name="T34" fmla="*/ 560 w 602"/>
                <a:gd name="T35" fmla="*/ 129 h 264"/>
                <a:gd name="T36" fmla="*/ 560 w 602"/>
                <a:gd name="T37" fmla="*/ 182 h 264"/>
                <a:gd name="T38" fmla="*/ 553 w 602"/>
                <a:gd name="T39" fmla="*/ 182 h 264"/>
                <a:gd name="T40" fmla="*/ 539 w 602"/>
                <a:gd name="T41" fmla="*/ 195 h 264"/>
                <a:gd name="T42" fmla="*/ 539 w 602"/>
                <a:gd name="T43" fmla="*/ 251 h 264"/>
                <a:gd name="T44" fmla="*/ 553 w 602"/>
                <a:gd name="T45" fmla="*/ 264 h 264"/>
                <a:gd name="T46" fmla="*/ 588 w 602"/>
                <a:gd name="T47" fmla="*/ 264 h 264"/>
                <a:gd name="T48" fmla="*/ 602 w 602"/>
                <a:gd name="T49" fmla="*/ 251 h 264"/>
                <a:gd name="T50" fmla="*/ 602 w 602"/>
                <a:gd name="T51" fmla="*/ 195 h 264"/>
                <a:gd name="T52" fmla="*/ 588 w 602"/>
                <a:gd name="T53" fmla="*/ 18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2" h="264">
                  <a:moveTo>
                    <a:pt x="588" y="182"/>
                  </a:moveTo>
                  <a:cubicBezTo>
                    <a:pt x="584" y="182"/>
                    <a:pt x="584" y="182"/>
                    <a:pt x="584" y="182"/>
                  </a:cubicBezTo>
                  <a:cubicBezTo>
                    <a:pt x="584" y="89"/>
                    <a:pt x="584" y="89"/>
                    <a:pt x="584" y="89"/>
                  </a:cubicBezTo>
                  <a:cubicBezTo>
                    <a:pt x="583" y="89"/>
                    <a:pt x="583" y="89"/>
                    <a:pt x="583" y="89"/>
                  </a:cubicBezTo>
                  <a:cubicBezTo>
                    <a:pt x="457" y="0"/>
                    <a:pt x="145" y="0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182"/>
                    <a:pt x="18" y="182"/>
                    <a:pt x="18" y="182"/>
                  </a:cubicBezTo>
                  <a:cubicBezTo>
                    <a:pt x="14" y="182"/>
                    <a:pt x="14" y="182"/>
                    <a:pt x="14" y="182"/>
                  </a:cubicBezTo>
                  <a:cubicBezTo>
                    <a:pt x="6" y="182"/>
                    <a:pt x="0" y="188"/>
                    <a:pt x="0" y="195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8"/>
                    <a:pt x="6" y="264"/>
                    <a:pt x="14" y="264"/>
                  </a:cubicBezTo>
                  <a:cubicBezTo>
                    <a:pt x="49" y="264"/>
                    <a:pt x="49" y="264"/>
                    <a:pt x="49" y="264"/>
                  </a:cubicBezTo>
                  <a:cubicBezTo>
                    <a:pt x="57" y="264"/>
                    <a:pt x="63" y="258"/>
                    <a:pt x="63" y="251"/>
                  </a:cubicBezTo>
                  <a:cubicBezTo>
                    <a:pt x="63" y="195"/>
                    <a:pt x="63" y="195"/>
                    <a:pt x="63" y="195"/>
                  </a:cubicBezTo>
                  <a:cubicBezTo>
                    <a:pt x="63" y="188"/>
                    <a:pt x="57" y="182"/>
                    <a:pt x="49" y="182"/>
                  </a:cubicBezTo>
                  <a:cubicBezTo>
                    <a:pt x="42" y="182"/>
                    <a:pt x="42" y="182"/>
                    <a:pt x="42" y="182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168" y="59"/>
                    <a:pt x="434" y="59"/>
                    <a:pt x="560" y="129"/>
                  </a:cubicBezTo>
                  <a:cubicBezTo>
                    <a:pt x="560" y="182"/>
                    <a:pt x="560" y="182"/>
                    <a:pt x="560" y="182"/>
                  </a:cubicBezTo>
                  <a:cubicBezTo>
                    <a:pt x="553" y="182"/>
                    <a:pt x="553" y="182"/>
                    <a:pt x="553" y="182"/>
                  </a:cubicBezTo>
                  <a:cubicBezTo>
                    <a:pt x="545" y="182"/>
                    <a:pt x="539" y="188"/>
                    <a:pt x="539" y="195"/>
                  </a:cubicBezTo>
                  <a:cubicBezTo>
                    <a:pt x="539" y="251"/>
                    <a:pt x="539" y="251"/>
                    <a:pt x="539" y="251"/>
                  </a:cubicBezTo>
                  <a:cubicBezTo>
                    <a:pt x="539" y="258"/>
                    <a:pt x="545" y="264"/>
                    <a:pt x="553" y="264"/>
                  </a:cubicBezTo>
                  <a:cubicBezTo>
                    <a:pt x="588" y="264"/>
                    <a:pt x="588" y="264"/>
                    <a:pt x="588" y="264"/>
                  </a:cubicBezTo>
                  <a:cubicBezTo>
                    <a:pt x="596" y="264"/>
                    <a:pt x="602" y="258"/>
                    <a:pt x="602" y="251"/>
                  </a:cubicBezTo>
                  <a:cubicBezTo>
                    <a:pt x="602" y="195"/>
                    <a:pt x="602" y="195"/>
                    <a:pt x="602" y="195"/>
                  </a:cubicBezTo>
                  <a:cubicBezTo>
                    <a:pt x="602" y="188"/>
                    <a:pt x="596" y="182"/>
                    <a:pt x="588" y="182"/>
                  </a:cubicBezTo>
                  <a:close/>
                </a:path>
              </a:pathLst>
            </a:custGeom>
            <a:solidFill>
              <a:srgbClr val="B96F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2" name="矩形 1"/>
          <p:cNvSpPr/>
          <p:nvPr/>
        </p:nvSpPr>
        <p:spPr>
          <a:xfrm>
            <a:off x="-3446279" y="5782929"/>
            <a:ext cx="6096000" cy="304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en-US" altLang="zh-CN"/>
              <a:t>3.</a:t>
            </a:r>
            <a:r>
              <a:rPr lang="zh-CN" altLang="zh-CN"/>
              <a:t>把收获作为检验的标准</a:t>
            </a:r>
            <a:endParaRPr lang="zh-CN" altLang="zh-CN"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540776" y="1798320"/>
            <a:ext cx="3160800" cy="4437380"/>
          </a:xfrm>
          <a:prstGeom prst="rect">
            <a:avLst/>
          </a:prstGeom>
          <a:noFill/>
          <a:ln w="25400">
            <a:solidFill>
              <a:srgbClr val="149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972352" y="1798320"/>
            <a:ext cx="3162294" cy="4437380"/>
          </a:xfrm>
          <a:prstGeom prst="rect">
            <a:avLst/>
          </a:prstGeom>
          <a:noFill/>
          <a:ln w="25400">
            <a:solidFill>
              <a:srgbClr val="149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715376" y="3537547"/>
            <a:ext cx="2811600" cy="23637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zh-CN" sz="16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zh-CN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进的教学理念和蓝墨云班课等现代化教学手段武装自己，在教学管理中积极使用，活跃课堂气氛，调动学生学习积极性，有效提高课堂效率，精心备课，认真上课，不求每节课是完美的，但求每节课是有效的，并在反思中改进课堂教学。</a:t>
            </a:r>
            <a:endParaRPr lang="en-US" altLang="zh-CN" sz="160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810633" y="2561168"/>
            <a:ext cx="2621087" cy="830997"/>
          </a:xfrm>
          <a:prstGeom prst="rect">
            <a:avLst/>
          </a:prstGeom>
        </p:spPr>
        <p:txBody>
          <a:bodyPr wrap="square" lIns="0" tIns="45720" rIns="0" bIns="45720">
            <a:spAutoFit/>
          </a:bodyPr>
          <a:lstStyle/>
          <a:p>
            <a:pPr algn="ctr">
              <a:buFont typeface="Arial" panose="020B0604020202020204" pitchFamily="34" charset="0"/>
              <a:buNone/>
            </a:pPr>
            <a:r>
              <a:rPr lang="zh-CN" altLang="en-US" sz="2400" b="1">
                <a:solidFill>
                  <a:srgbClr val="033782"/>
                </a:solidFill>
                <a:latin typeface="+mn-ea"/>
                <a:cs typeface="+mn-ea"/>
                <a:sym typeface="+mn-lt"/>
              </a:rPr>
              <a:t>以课堂</a:t>
            </a:r>
            <a:endParaRPr lang="en-US" altLang="zh-CN" sz="2400" b="1">
              <a:solidFill>
                <a:srgbClr val="033782"/>
              </a:solidFill>
              <a:latin typeface="+mn-ea"/>
              <a:cs typeface="+mn-ea"/>
              <a:sym typeface="+mn-lt"/>
            </a:endParaRPr>
          </a:p>
          <a:p>
            <a:pPr algn="ctr">
              <a:buFont typeface="Arial" panose="020B0604020202020204" pitchFamily="34" charset="0"/>
              <a:buNone/>
            </a:pPr>
            <a:r>
              <a:rPr lang="zh-CN" altLang="en-US" sz="2400" b="1">
                <a:solidFill>
                  <a:srgbClr val="033782"/>
                </a:solidFill>
                <a:latin typeface="+mn-ea"/>
                <a:cs typeface="+mn-ea"/>
                <a:sym typeface="+mn-lt"/>
              </a:rPr>
              <a:t>为载体</a:t>
            </a:r>
            <a:endParaRPr lang="en-US" altLang="zh-CN" sz="2400" b="1">
              <a:solidFill>
                <a:srgbClr val="033782"/>
              </a:solidFill>
              <a:latin typeface="+mn-ea"/>
              <a:cs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8147813" y="3537547"/>
            <a:ext cx="2811372" cy="23637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zh-CN" sz="16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</a:t>
            </a:r>
            <a:r>
              <a:rPr lang="zh-CN" altLang="zh-CN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将教学和科研结合在一起，争取从教学熟练型教师提升为专家型教师。同时丰富教育管理能力，如果教学是术业有专攻，那教育就是潜移默化、润物细无声，用班主任管理工作中的宝贵经验，掌握职教特点，应对职教变化。</a:t>
            </a:r>
            <a:endParaRPr lang="en-US" altLang="zh-CN" sz="160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242956" y="2598101"/>
            <a:ext cx="2621087" cy="757130"/>
          </a:xfrm>
          <a:prstGeom prst="rect">
            <a:avLst/>
          </a:prstGeom>
        </p:spPr>
        <p:txBody>
          <a:bodyPr wrap="square" lIns="0" tIns="45720" rIns="0" bIns="45720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2400" b="1" smtClean="0">
                <a:solidFill>
                  <a:srgbClr val="033782"/>
                </a:solidFill>
                <a:latin typeface="+mn-ea"/>
                <a:cs typeface="+mn-ea"/>
                <a:sym typeface="+mn-lt"/>
              </a:rPr>
              <a:t>坚持教学案例分析和课题研究</a:t>
            </a:r>
            <a:endParaRPr lang="en-US" altLang="zh-CN" sz="2400" b="1">
              <a:solidFill>
                <a:srgbClr val="033782"/>
              </a:solidFill>
              <a:latin typeface="+mn-ea"/>
              <a:cs typeface="+mn-ea"/>
            </a:endParaRPr>
          </a:p>
        </p:txBody>
      </p:sp>
      <p:sp>
        <p:nvSpPr>
          <p:cNvPr id="18" name="flat-plant_75063"/>
          <p:cNvSpPr>
            <a:spLocks noChangeAspect="1"/>
          </p:cNvSpPr>
          <p:nvPr/>
        </p:nvSpPr>
        <p:spPr bwMode="auto">
          <a:xfrm>
            <a:off x="5905114" y="2106361"/>
            <a:ext cx="432124" cy="370900"/>
          </a:xfrm>
          <a:custGeom>
            <a:avLst/>
            <a:gdLst>
              <a:gd name="connsiteX0" fmla="*/ 412420 w 608133"/>
              <a:gd name="connsiteY0" fmla="*/ 463827 h 521973"/>
              <a:gd name="connsiteX1" fmla="*/ 422122 w 608133"/>
              <a:gd name="connsiteY1" fmla="*/ 473518 h 521973"/>
              <a:gd name="connsiteX2" fmla="*/ 422122 w 608133"/>
              <a:gd name="connsiteY2" fmla="*/ 512282 h 521973"/>
              <a:gd name="connsiteX3" fmla="*/ 412420 w 608133"/>
              <a:gd name="connsiteY3" fmla="*/ 521973 h 521973"/>
              <a:gd name="connsiteX4" fmla="*/ 402717 w 608133"/>
              <a:gd name="connsiteY4" fmla="*/ 512282 h 521973"/>
              <a:gd name="connsiteX5" fmla="*/ 402717 w 608133"/>
              <a:gd name="connsiteY5" fmla="*/ 473518 h 521973"/>
              <a:gd name="connsiteX6" fmla="*/ 412420 w 608133"/>
              <a:gd name="connsiteY6" fmla="*/ 463827 h 521973"/>
              <a:gd name="connsiteX7" fmla="*/ 195714 w 608133"/>
              <a:gd name="connsiteY7" fmla="*/ 463827 h 521973"/>
              <a:gd name="connsiteX8" fmla="*/ 205416 w 608133"/>
              <a:gd name="connsiteY8" fmla="*/ 473523 h 521973"/>
              <a:gd name="connsiteX9" fmla="*/ 205416 w 608133"/>
              <a:gd name="connsiteY9" fmla="*/ 502610 h 521973"/>
              <a:gd name="connsiteX10" fmla="*/ 195714 w 608133"/>
              <a:gd name="connsiteY10" fmla="*/ 512305 h 521973"/>
              <a:gd name="connsiteX11" fmla="*/ 186011 w 608133"/>
              <a:gd name="connsiteY11" fmla="*/ 502610 h 521973"/>
              <a:gd name="connsiteX12" fmla="*/ 186011 w 608133"/>
              <a:gd name="connsiteY12" fmla="*/ 473523 h 521973"/>
              <a:gd name="connsiteX13" fmla="*/ 195714 w 608133"/>
              <a:gd name="connsiteY13" fmla="*/ 463827 h 521973"/>
              <a:gd name="connsiteX14" fmla="*/ 87326 w 608133"/>
              <a:gd name="connsiteY14" fmla="*/ 237665 h 521973"/>
              <a:gd name="connsiteX15" fmla="*/ 414839 w 608133"/>
              <a:gd name="connsiteY15" fmla="*/ 237665 h 521973"/>
              <a:gd name="connsiteX16" fmla="*/ 424543 w 608133"/>
              <a:gd name="connsiteY16" fmla="*/ 247355 h 521973"/>
              <a:gd name="connsiteX17" fmla="*/ 414839 w 608133"/>
              <a:gd name="connsiteY17" fmla="*/ 257044 h 521973"/>
              <a:gd name="connsiteX18" fmla="*/ 97030 w 608133"/>
              <a:gd name="connsiteY18" fmla="*/ 257044 h 521973"/>
              <a:gd name="connsiteX19" fmla="*/ 97030 w 608133"/>
              <a:gd name="connsiteY19" fmla="*/ 386302 h 521973"/>
              <a:gd name="connsiteX20" fmla="*/ 511103 w 608133"/>
              <a:gd name="connsiteY20" fmla="*/ 386302 h 521973"/>
              <a:gd name="connsiteX21" fmla="*/ 511103 w 608133"/>
              <a:gd name="connsiteY21" fmla="*/ 257044 h 521973"/>
              <a:gd name="connsiteX22" fmla="*/ 453655 w 608133"/>
              <a:gd name="connsiteY22" fmla="*/ 257044 h 521973"/>
              <a:gd name="connsiteX23" fmla="*/ 443951 w 608133"/>
              <a:gd name="connsiteY23" fmla="*/ 247355 h 521973"/>
              <a:gd name="connsiteX24" fmla="*/ 453655 w 608133"/>
              <a:gd name="connsiteY24" fmla="*/ 237665 h 521973"/>
              <a:gd name="connsiteX25" fmla="*/ 520807 w 608133"/>
              <a:gd name="connsiteY25" fmla="*/ 237665 h 521973"/>
              <a:gd name="connsiteX26" fmla="*/ 530511 w 608133"/>
              <a:gd name="connsiteY26" fmla="*/ 247355 h 521973"/>
              <a:gd name="connsiteX27" fmla="*/ 530511 w 608133"/>
              <a:gd name="connsiteY27" fmla="*/ 395992 h 521973"/>
              <a:gd name="connsiteX28" fmla="*/ 520807 w 608133"/>
              <a:gd name="connsiteY28" fmla="*/ 405681 h 521973"/>
              <a:gd name="connsiteX29" fmla="*/ 87326 w 608133"/>
              <a:gd name="connsiteY29" fmla="*/ 405681 h 521973"/>
              <a:gd name="connsiteX30" fmla="*/ 77622 w 608133"/>
              <a:gd name="connsiteY30" fmla="*/ 395992 h 521973"/>
              <a:gd name="connsiteX31" fmla="*/ 77622 w 608133"/>
              <a:gd name="connsiteY31" fmla="*/ 247355 h 521973"/>
              <a:gd name="connsiteX32" fmla="*/ 87326 w 608133"/>
              <a:gd name="connsiteY32" fmla="*/ 237665 h 521973"/>
              <a:gd name="connsiteX33" fmla="*/ 58223 w 608133"/>
              <a:gd name="connsiteY33" fmla="*/ 218304 h 521973"/>
              <a:gd name="connsiteX34" fmla="*/ 58223 w 608133"/>
              <a:gd name="connsiteY34" fmla="*/ 425078 h 521973"/>
              <a:gd name="connsiteX35" fmla="*/ 549911 w 608133"/>
              <a:gd name="connsiteY35" fmla="*/ 425078 h 521973"/>
              <a:gd name="connsiteX36" fmla="*/ 549911 w 608133"/>
              <a:gd name="connsiteY36" fmla="*/ 218304 h 521973"/>
              <a:gd name="connsiteX37" fmla="*/ 19408 w 608133"/>
              <a:gd name="connsiteY37" fmla="*/ 179545 h 521973"/>
              <a:gd name="connsiteX38" fmla="*/ 19408 w 608133"/>
              <a:gd name="connsiteY38" fmla="*/ 198924 h 521973"/>
              <a:gd name="connsiteX39" fmla="*/ 588726 w 608133"/>
              <a:gd name="connsiteY39" fmla="*/ 198924 h 521973"/>
              <a:gd name="connsiteX40" fmla="*/ 588726 w 608133"/>
              <a:gd name="connsiteY40" fmla="*/ 179545 h 521973"/>
              <a:gd name="connsiteX41" fmla="*/ 35603 w 608133"/>
              <a:gd name="connsiteY41" fmla="*/ 121443 h 521973"/>
              <a:gd name="connsiteX42" fmla="*/ 169815 w 608133"/>
              <a:gd name="connsiteY42" fmla="*/ 121443 h 521973"/>
              <a:gd name="connsiteX43" fmla="*/ 179519 w 608133"/>
              <a:gd name="connsiteY43" fmla="*/ 131111 h 521973"/>
              <a:gd name="connsiteX44" fmla="*/ 169815 w 608133"/>
              <a:gd name="connsiteY44" fmla="*/ 140778 h 521973"/>
              <a:gd name="connsiteX45" fmla="*/ 35603 w 608133"/>
              <a:gd name="connsiteY45" fmla="*/ 140778 h 521973"/>
              <a:gd name="connsiteX46" fmla="*/ 25898 w 608133"/>
              <a:gd name="connsiteY46" fmla="*/ 131111 h 521973"/>
              <a:gd name="connsiteX47" fmla="*/ 35603 w 608133"/>
              <a:gd name="connsiteY47" fmla="*/ 121443 h 521973"/>
              <a:gd name="connsiteX48" fmla="*/ 478685 w 608133"/>
              <a:gd name="connsiteY48" fmla="*/ 102029 h 521973"/>
              <a:gd name="connsiteX49" fmla="*/ 478685 w 608133"/>
              <a:gd name="connsiteY49" fmla="*/ 160166 h 521973"/>
              <a:gd name="connsiteX50" fmla="*/ 511096 w 608133"/>
              <a:gd name="connsiteY50" fmla="*/ 160166 h 521973"/>
              <a:gd name="connsiteX51" fmla="*/ 511096 w 608133"/>
              <a:gd name="connsiteY51" fmla="*/ 102029 h 521973"/>
              <a:gd name="connsiteX52" fmla="*/ 35603 w 608133"/>
              <a:gd name="connsiteY52" fmla="*/ 82632 h 521973"/>
              <a:gd name="connsiteX53" fmla="*/ 169815 w 608133"/>
              <a:gd name="connsiteY53" fmla="*/ 82632 h 521973"/>
              <a:gd name="connsiteX54" fmla="*/ 179519 w 608133"/>
              <a:gd name="connsiteY54" fmla="*/ 92335 h 521973"/>
              <a:gd name="connsiteX55" fmla="*/ 169815 w 608133"/>
              <a:gd name="connsiteY55" fmla="*/ 102038 h 521973"/>
              <a:gd name="connsiteX56" fmla="*/ 35603 w 608133"/>
              <a:gd name="connsiteY56" fmla="*/ 102038 h 521973"/>
              <a:gd name="connsiteX57" fmla="*/ 25898 w 608133"/>
              <a:gd name="connsiteY57" fmla="*/ 92335 h 521973"/>
              <a:gd name="connsiteX58" fmla="*/ 35603 w 608133"/>
              <a:gd name="connsiteY58" fmla="*/ 82632 h 521973"/>
              <a:gd name="connsiteX59" fmla="*/ 494891 w 608133"/>
              <a:gd name="connsiteY59" fmla="*/ 43892 h 521973"/>
              <a:gd name="connsiteX60" fmla="*/ 504594 w 608133"/>
              <a:gd name="connsiteY60" fmla="*/ 53582 h 521973"/>
              <a:gd name="connsiteX61" fmla="*/ 504594 w 608133"/>
              <a:gd name="connsiteY61" fmla="*/ 82650 h 521973"/>
              <a:gd name="connsiteX62" fmla="*/ 520800 w 608133"/>
              <a:gd name="connsiteY62" fmla="*/ 82650 h 521973"/>
              <a:gd name="connsiteX63" fmla="*/ 530503 w 608133"/>
              <a:gd name="connsiteY63" fmla="*/ 92340 h 521973"/>
              <a:gd name="connsiteX64" fmla="*/ 530503 w 608133"/>
              <a:gd name="connsiteY64" fmla="*/ 160166 h 521973"/>
              <a:gd name="connsiteX65" fmla="*/ 598429 w 608133"/>
              <a:gd name="connsiteY65" fmla="*/ 160166 h 521973"/>
              <a:gd name="connsiteX66" fmla="*/ 608133 w 608133"/>
              <a:gd name="connsiteY66" fmla="*/ 169856 h 521973"/>
              <a:gd name="connsiteX67" fmla="*/ 608133 w 608133"/>
              <a:gd name="connsiteY67" fmla="*/ 208614 h 521973"/>
              <a:gd name="connsiteX68" fmla="*/ 598429 w 608133"/>
              <a:gd name="connsiteY68" fmla="*/ 218304 h 521973"/>
              <a:gd name="connsiteX69" fmla="*/ 569318 w 608133"/>
              <a:gd name="connsiteY69" fmla="*/ 218304 h 521973"/>
              <a:gd name="connsiteX70" fmla="*/ 569318 w 608133"/>
              <a:gd name="connsiteY70" fmla="*/ 512284 h 521973"/>
              <a:gd name="connsiteX71" fmla="*/ 559615 w 608133"/>
              <a:gd name="connsiteY71" fmla="*/ 521973 h 521973"/>
              <a:gd name="connsiteX72" fmla="*/ 549911 w 608133"/>
              <a:gd name="connsiteY72" fmla="*/ 512284 h 521973"/>
              <a:gd name="connsiteX73" fmla="*/ 549911 w 608133"/>
              <a:gd name="connsiteY73" fmla="*/ 444457 h 521973"/>
              <a:gd name="connsiteX74" fmla="*/ 58223 w 608133"/>
              <a:gd name="connsiteY74" fmla="*/ 444457 h 521973"/>
              <a:gd name="connsiteX75" fmla="*/ 58223 w 608133"/>
              <a:gd name="connsiteY75" fmla="*/ 512284 h 521973"/>
              <a:gd name="connsiteX76" fmla="*/ 48519 w 608133"/>
              <a:gd name="connsiteY76" fmla="*/ 521973 h 521973"/>
              <a:gd name="connsiteX77" fmla="*/ 38815 w 608133"/>
              <a:gd name="connsiteY77" fmla="*/ 512284 h 521973"/>
              <a:gd name="connsiteX78" fmla="*/ 38815 w 608133"/>
              <a:gd name="connsiteY78" fmla="*/ 218304 h 521973"/>
              <a:gd name="connsiteX79" fmla="*/ 9704 w 608133"/>
              <a:gd name="connsiteY79" fmla="*/ 218304 h 521973"/>
              <a:gd name="connsiteX80" fmla="*/ 0 w 608133"/>
              <a:gd name="connsiteY80" fmla="*/ 208614 h 521973"/>
              <a:gd name="connsiteX81" fmla="*/ 0 w 608133"/>
              <a:gd name="connsiteY81" fmla="*/ 169856 h 521973"/>
              <a:gd name="connsiteX82" fmla="*/ 9704 w 608133"/>
              <a:gd name="connsiteY82" fmla="*/ 160166 h 521973"/>
              <a:gd name="connsiteX83" fmla="*/ 459278 w 608133"/>
              <a:gd name="connsiteY83" fmla="*/ 160166 h 521973"/>
              <a:gd name="connsiteX84" fmla="*/ 459278 w 608133"/>
              <a:gd name="connsiteY84" fmla="*/ 92340 h 521973"/>
              <a:gd name="connsiteX85" fmla="*/ 468982 w 608133"/>
              <a:gd name="connsiteY85" fmla="*/ 82650 h 521973"/>
              <a:gd name="connsiteX86" fmla="*/ 485187 w 608133"/>
              <a:gd name="connsiteY86" fmla="*/ 82650 h 521973"/>
              <a:gd name="connsiteX87" fmla="*/ 485187 w 608133"/>
              <a:gd name="connsiteY87" fmla="*/ 53582 h 521973"/>
              <a:gd name="connsiteX88" fmla="*/ 494891 w 608133"/>
              <a:gd name="connsiteY88" fmla="*/ 43892 h 521973"/>
              <a:gd name="connsiteX89" fmla="*/ 260314 w 608133"/>
              <a:gd name="connsiteY89" fmla="*/ 0 h 521973"/>
              <a:gd name="connsiteX90" fmla="*/ 347650 w 608133"/>
              <a:gd name="connsiteY90" fmla="*/ 0 h 521973"/>
              <a:gd name="connsiteX91" fmla="*/ 399275 w 608133"/>
              <a:gd name="connsiteY91" fmla="*/ 47584 h 521973"/>
              <a:gd name="connsiteX92" fmla="*/ 405971 w 608133"/>
              <a:gd name="connsiteY92" fmla="*/ 130348 h 521973"/>
              <a:gd name="connsiteX93" fmla="*/ 397043 w 608133"/>
              <a:gd name="connsiteY93" fmla="*/ 140814 h 521973"/>
              <a:gd name="connsiteX94" fmla="*/ 396267 w 608133"/>
              <a:gd name="connsiteY94" fmla="*/ 140814 h 521973"/>
              <a:gd name="connsiteX95" fmla="*/ 386660 w 608133"/>
              <a:gd name="connsiteY95" fmla="*/ 131899 h 521973"/>
              <a:gd name="connsiteX96" fmla="*/ 379964 w 608133"/>
              <a:gd name="connsiteY96" fmla="*/ 49135 h 521973"/>
              <a:gd name="connsiteX97" fmla="*/ 347650 w 608133"/>
              <a:gd name="connsiteY97" fmla="*/ 19382 h 521973"/>
              <a:gd name="connsiteX98" fmla="*/ 260314 w 608133"/>
              <a:gd name="connsiteY98" fmla="*/ 19382 h 521973"/>
              <a:gd name="connsiteX99" fmla="*/ 228097 w 608133"/>
              <a:gd name="connsiteY99" fmla="*/ 49135 h 521973"/>
              <a:gd name="connsiteX100" fmla="*/ 221401 w 608133"/>
              <a:gd name="connsiteY100" fmla="*/ 131899 h 521973"/>
              <a:gd name="connsiteX101" fmla="*/ 210921 w 608133"/>
              <a:gd name="connsiteY101" fmla="*/ 140814 h 521973"/>
              <a:gd name="connsiteX102" fmla="*/ 202090 w 608133"/>
              <a:gd name="connsiteY102" fmla="*/ 130348 h 521973"/>
              <a:gd name="connsiteX103" fmla="*/ 208689 w 608133"/>
              <a:gd name="connsiteY103" fmla="*/ 47584 h 521973"/>
              <a:gd name="connsiteX104" fmla="*/ 260314 w 608133"/>
              <a:gd name="connsiteY104" fmla="*/ 0 h 521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608133" h="521973">
                <a:moveTo>
                  <a:pt x="412420" y="463827"/>
                </a:moveTo>
                <a:cubicBezTo>
                  <a:pt x="417756" y="463827"/>
                  <a:pt x="422122" y="468091"/>
                  <a:pt x="422122" y="473518"/>
                </a:cubicBezTo>
                <a:lnTo>
                  <a:pt x="422122" y="512282"/>
                </a:lnTo>
                <a:cubicBezTo>
                  <a:pt x="422122" y="517612"/>
                  <a:pt x="417756" y="521973"/>
                  <a:pt x="412420" y="521973"/>
                </a:cubicBezTo>
                <a:cubicBezTo>
                  <a:pt x="407083" y="521973"/>
                  <a:pt x="402717" y="517612"/>
                  <a:pt x="402717" y="512282"/>
                </a:cubicBezTo>
                <a:lnTo>
                  <a:pt x="402717" y="473518"/>
                </a:lnTo>
                <a:cubicBezTo>
                  <a:pt x="402717" y="468091"/>
                  <a:pt x="407083" y="463827"/>
                  <a:pt x="412420" y="463827"/>
                </a:cubicBezTo>
                <a:close/>
                <a:moveTo>
                  <a:pt x="195714" y="463827"/>
                </a:moveTo>
                <a:cubicBezTo>
                  <a:pt x="201050" y="463827"/>
                  <a:pt x="205416" y="468093"/>
                  <a:pt x="205416" y="473523"/>
                </a:cubicBezTo>
                <a:lnTo>
                  <a:pt x="205416" y="502610"/>
                </a:lnTo>
                <a:cubicBezTo>
                  <a:pt x="205416" y="507942"/>
                  <a:pt x="201050" y="512305"/>
                  <a:pt x="195714" y="512305"/>
                </a:cubicBezTo>
                <a:cubicBezTo>
                  <a:pt x="190280" y="512305"/>
                  <a:pt x="186011" y="507942"/>
                  <a:pt x="186011" y="502610"/>
                </a:cubicBezTo>
                <a:lnTo>
                  <a:pt x="186011" y="473523"/>
                </a:lnTo>
                <a:cubicBezTo>
                  <a:pt x="186011" y="468093"/>
                  <a:pt x="190280" y="463827"/>
                  <a:pt x="195714" y="463827"/>
                </a:cubicBezTo>
                <a:close/>
                <a:moveTo>
                  <a:pt x="87326" y="237665"/>
                </a:moveTo>
                <a:lnTo>
                  <a:pt x="414839" y="237665"/>
                </a:lnTo>
                <a:cubicBezTo>
                  <a:pt x="420176" y="237665"/>
                  <a:pt x="424543" y="242025"/>
                  <a:pt x="424543" y="247355"/>
                </a:cubicBezTo>
                <a:cubicBezTo>
                  <a:pt x="424543" y="252781"/>
                  <a:pt x="420176" y="257044"/>
                  <a:pt x="414839" y="257044"/>
                </a:cubicBezTo>
                <a:lnTo>
                  <a:pt x="97030" y="257044"/>
                </a:lnTo>
                <a:lnTo>
                  <a:pt x="97030" y="386302"/>
                </a:lnTo>
                <a:lnTo>
                  <a:pt x="511103" y="386302"/>
                </a:lnTo>
                <a:lnTo>
                  <a:pt x="511103" y="257044"/>
                </a:lnTo>
                <a:lnTo>
                  <a:pt x="453655" y="257044"/>
                </a:lnTo>
                <a:cubicBezTo>
                  <a:pt x="448318" y="257044"/>
                  <a:pt x="443951" y="252781"/>
                  <a:pt x="443951" y="247355"/>
                </a:cubicBezTo>
                <a:cubicBezTo>
                  <a:pt x="443951" y="242025"/>
                  <a:pt x="448318" y="237665"/>
                  <a:pt x="453655" y="237665"/>
                </a:cubicBezTo>
                <a:lnTo>
                  <a:pt x="520807" y="237665"/>
                </a:lnTo>
                <a:cubicBezTo>
                  <a:pt x="526144" y="237665"/>
                  <a:pt x="530511" y="242025"/>
                  <a:pt x="530511" y="247355"/>
                </a:cubicBezTo>
                <a:lnTo>
                  <a:pt x="530511" y="395992"/>
                </a:lnTo>
                <a:cubicBezTo>
                  <a:pt x="530511" y="401321"/>
                  <a:pt x="526144" y="405681"/>
                  <a:pt x="520807" y="405681"/>
                </a:cubicBezTo>
                <a:lnTo>
                  <a:pt x="87326" y="405681"/>
                </a:lnTo>
                <a:cubicBezTo>
                  <a:pt x="81989" y="405681"/>
                  <a:pt x="77622" y="401321"/>
                  <a:pt x="77622" y="395992"/>
                </a:cubicBezTo>
                <a:lnTo>
                  <a:pt x="77622" y="247355"/>
                </a:lnTo>
                <a:cubicBezTo>
                  <a:pt x="77622" y="242025"/>
                  <a:pt x="81989" y="237665"/>
                  <a:pt x="87326" y="237665"/>
                </a:cubicBezTo>
                <a:close/>
                <a:moveTo>
                  <a:pt x="58223" y="218304"/>
                </a:moveTo>
                <a:lnTo>
                  <a:pt x="58223" y="425078"/>
                </a:lnTo>
                <a:lnTo>
                  <a:pt x="549911" y="425078"/>
                </a:lnTo>
                <a:lnTo>
                  <a:pt x="549911" y="218304"/>
                </a:lnTo>
                <a:close/>
                <a:moveTo>
                  <a:pt x="19408" y="179545"/>
                </a:moveTo>
                <a:lnTo>
                  <a:pt x="19408" y="198924"/>
                </a:lnTo>
                <a:lnTo>
                  <a:pt x="588726" y="198924"/>
                </a:lnTo>
                <a:lnTo>
                  <a:pt x="588726" y="179545"/>
                </a:lnTo>
                <a:close/>
                <a:moveTo>
                  <a:pt x="35603" y="121443"/>
                </a:moveTo>
                <a:lnTo>
                  <a:pt x="169815" y="121443"/>
                </a:lnTo>
                <a:cubicBezTo>
                  <a:pt x="175152" y="121443"/>
                  <a:pt x="179519" y="125794"/>
                  <a:pt x="179519" y="131111"/>
                </a:cubicBezTo>
                <a:cubicBezTo>
                  <a:pt x="179519" y="136524"/>
                  <a:pt x="175152" y="140778"/>
                  <a:pt x="169815" y="140778"/>
                </a:cubicBezTo>
                <a:lnTo>
                  <a:pt x="35603" y="140778"/>
                </a:lnTo>
                <a:cubicBezTo>
                  <a:pt x="30168" y="140778"/>
                  <a:pt x="25898" y="136524"/>
                  <a:pt x="25898" y="131111"/>
                </a:cubicBezTo>
                <a:cubicBezTo>
                  <a:pt x="25898" y="125794"/>
                  <a:pt x="30168" y="121443"/>
                  <a:pt x="35603" y="121443"/>
                </a:cubicBezTo>
                <a:close/>
                <a:moveTo>
                  <a:pt x="478685" y="102029"/>
                </a:moveTo>
                <a:lnTo>
                  <a:pt x="478685" y="160166"/>
                </a:lnTo>
                <a:lnTo>
                  <a:pt x="511096" y="160166"/>
                </a:lnTo>
                <a:lnTo>
                  <a:pt x="511096" y="102029"/>
                </a:lnTo>
                <a:close/>
                <a:moveTo>
                  <a:pt x="35603" y="82632"/>
                </a:moveTo>
                <a:lnTo>
                  <a:pt x="169815" y="82632"/>
                </a:lnTo>
                <a:cubicBezTo>
                  <a:pt x="175152" y="82632"/>
                  <a:pt x="179519" y="86998"/>
                  <a:pt x="179519" y="92335"/>
                </a:cubicBezTo>
                <a:cubicBezTo>
                  <a:pt x="179519" y="97769"/>
                  <a:pt x="175152" y="102038"/>
                  <a:pt x="169815" y="102038"/>
                </a:cubicBezTo>
                <a:lnTo>
                  <a:pt x="35603" y="102038"/>
                </a:lnTo>
                <a:cubicBezTo>
                  <a:pt x="30168" y="102038"/>
                  <a:pt x="25898" y="97769"/>
                  <a:pt x="25898" y="92335"/>
                </a:cubicBezTo>
                <a:cubicBezTo>
                  <a:pt x="25898" y="86998"/>
                  <a:pt x="30168" y="82632"/>
                  <a:pt x="35603" y="82632"/>
                </a:cubicBezTo>
                <a:close/>
                <a:moveTo>
                  <a:pt x="494891" y="43892"/>
                </a:moveTo>
                <a:cubicBezTo>
                  <a:pt x="500228" y="43892"/>
                  <a:pt x="504594" y="48252"/>
                  <a:pt x="504594" y="53582"/>
                </a:cubicBezTo>
                <a:lnTo>
                  <a:pt x="504594" y="82650"/>
                </a:lnTo>
                <a:lnTo>
                  <a:pt x="520800" y="82650"/>
                </a:lnTo>
                <a:cubicBezTo>
                  <a:pt x="526137" y="82650"/>
                  <a:pt x="530503" y="87010"/>
                  <a:pt x="530503" y="92340"/>
                </a:cubicBezTo>
                <a:lnTo>
                  <a:pt x="530503" y="160166"/>
                </a:lnTo>
                <a:lnTo>
                  <a:pt x="598429" y="160166"/>
                </a:lnTo>
                <a:cubicBezTo>
                  <a:pt x="603767" y="160166"/>
                  <a:pt x="608133" y="164527"/>
                  <a:pt x="608133" y="169856"/>
                </a:cubicBezTo>
                <a:lnTo>
                  <a:pt x="608133" y="208614"/>
                </a:lnTo>
                <a:cubicBezTo>
                  <a:pt x="608133" y="214040"/>
                  <a:pt x="603767" y="218304"/>
                  <a:pt x="598429" y="218304"/>
                </a:cubicBezTo>
                <a:lnTo>
                  <a:pt x="569318" y="218304"/>
                </a:lnTo>
                <a:lnTo>
                  <a:pt x="569318" y="512284"/>
                </a:lnTo>
                <a:cubicBezTo>
                  <a:pt x="569318" y="517613"/>
                  <a:pt x="564952" y="521973"/>
                  <a:pt x="559615" y="521973"/>
                </a:cubicBezTo>
                <a:cubicBezTo>
                  <a:pt x="554180" y="521973"/>
                  <a:pt x="549911" y="517613"/>
                  <a:pt x="549911" y="512284"/>
                </a:cubicBezTo>
                <a:lnTo>
                  <a:pt x="549911" y="444457"/>
                </a:lnTo>
                <a:lnTo>
                  <a:pt x="58223" y="444457"/>
                </a:lnTo>
                <a:lnTo>
                  <a:pt x="58223" y="512284"/>
                </a:lnTo>
                <a:cubicBezTo>
                  <a:pt x="58223" y="517613"/>
                  <a:pt x="53856" y="521973"/>
                  <a:pt x="48519" y="521973"/>
                </a:cubicBezTo>
                <a:cubicBezTo>
                  <a:pt x="43182" y="521973"/>
                  <a:pt x="38815" y="517613"/>
                  <a:pt x="38815" y="512284"/>
                </a:cubicBezTo>
                <a:lnTo>
                  <a:pt x="38815" y="218304"/>
                </a:lnTo>
                <a:lnTo>
                  <a:pt x="9704" y="218304"/>
                </a:lnTo>
                <a:cubicBezTo>
                  <a:pt x="4367" y="218304"/>
                  <a:pt x="0" y="214040"/>
                  <a:pt x="0" y="208614"/>
                </a:cubicBezTo>
                <a:lnTo>
                  <a:pt x="0" y="169856"/>
                </a:lnTo>
                <a:cubicBezTo>
                  <a:pt x="0" y="164527"/>
                  <a:pt x="4367" y="160166"/>
                  <a:pt x="9704" y="160166"/>
                </a:cubicBezTo>
                <a:lnTo>
                  <a:pt x="459278" y="160166"/>
                </a:lnTo>
                <a:lnTo>
                  <a:pt x="459278" y="92340"/>
                </a:lnTo>
                <a:cubicBezTo>
                  <a:pt x="459278" y="87010"/>
                  <a:pt x="463645" y="82650"/>
                  <a:pt x="468982" y="82650"/>
                </a:cubicBezTo>
                <a:lnTo>
                  <a:pt x="485187" y="82650"/>
                </a:lnTo>
                <a:lnTo>
                  <a:pt x="485187" y="53582"/>
                </a:lnTo>
                <a:cubicBezTo>
                  <a:pt x="485187" y="48252"/>
                  <a:pt x="489554" y="43892"/>
                  <a:pt x="494891" y="43892"/>
                </a:cubicBezTo>
                <a:close/>
                <a:moveTo>
                  <a:pt x="260314" y="0"/>
                </a:moveTo>
                <a:lnTo>
                  <a:pt x="347650" y="0"/>
                </a:lnTo>
                <a:cubicBezTo>
                  <a:pt x="374045" y="0"/>
                  <a:pt x="397140" y="21321"/>
                  <a:pt x="399275" y="47584"/>
                </a:cubicBezTo>
                <a:lnTo>
                  <a:pt x="405971" y="130348"/>
                </a:lnTo>
                <a:cubicBezTo>
                  <a:pt x="406456" y="135678"/>
                  <a:pt x="402381" y="140427"/>
                  <a:pt x="397043" y="140814"/>
                </a:cubicBezTo>
                <a:cubicBezTo>
                  <a:pt x="396849" y="140814"/>
                  <a:pt x="396558" y="140814"/>
                  <a:pt x="396267" y="140814"/>
                </a:cubicBezTo>
                <a:cubicBezTo>
                  <a:pt x="391318" y="140814"/>
                  <a:pt x="387048" y="137035"/>
                  <a:pt x="386660" y="131899"/>
                </a:cubicBezTo>
                <a:lnTo>
                  <a:pt x="379964" y="49135"/>
                </a:lnTo>
                <a:cubicBezTo>
                  <a:pt x="378606" y="32950"/>
                  <a:pt x="363856" y="19382"/>
                  <a:pt x="347650" y="19382"/>
                </a:cubicBezTo>
                <a:lnTo>
                  <a:pt x="260314" y="19382"/>
                </a:lnTo>
                <a:cubicBezTo>
                  <a:pt x="244206" y="19382"/>
                  <a:pt x="229359" y="32950"/>
                  <a:pt x="228097" y="49135"/>
                </a:cubicBezTo>
                <a:lnTo>
                  <a:pt x="221401" y="131899"/>
                </a:lnTo>
                <a:cubicBezTo>
                  <a:pt x="220916" y="137229"/>
                  <a:pt x="216258" y="141202"/>
                  <a:pt x="210921" y="140814"/>
                </a:cubicBezTo>
                <a:cubicBezTo>
                  <a:pt x="205584" y="140427"/>
                  <a:pt x="201605" y="135678"/>
                  <a:pt x="202090" y="130348"/>
                </a:cubicBezTo>
                <a:lnTo>
                  <a:pt x="208689" y="47584"/>
                </a:lnTo>
                <a:cubicBezTo>
                  <a:pt x="210824" y="21321"/>
                  <a:pt x="234017" y="0"/>
                  <a:pt x="260314" y="0"/>
                </a:cubicBezTo>
                <a:close/>
              </a:path>
            </a:pathLst>
          </a:custGeom>
          <a:solidFill>
            <a:srgbClr val="149CEA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9" name="flat-plant_75063"/>
          <p:cNvSpPr>
            <a:spLocks noChangeAspect="1"/>
          </p:cNvSpPr>
          <p:nvPr/>
        </p:nvSpPr>
        <p:spPr bwMode="auto">
          <a:xfrm>
            <a:off x="9337438" y="2130902"/>
            <a:ext cx="432123" cy="321817"/>
          </a:xfrm>
          <a:custGeom>
            <a:avLst/>
            <a:gdLst>
              <a:gd name="connsiteX0" fmla="*/ 51621 w 607648"/>
              <a:gd name="connsiteY0" fmla="*/ 324013 h 452537"/>
              <a:gd name="connsiteX1" fmla="*/ 54202 w 607648"/>
              <a:gd name="connsiteY1" fmla="*/ 336812 h 452537"/>
              <a:gd name="connsiteX2" fmla="*/ 69957 w 607648"/>
              <a:gd name="connsiteY2" fmla="*/ 336812 h 452537"/>
              <a:gd name="connsiteX3" fmla="*/ 51621 w 607648"/>
              <a:gd name="connsiteY3" fmla="*/ 324013 h 452537"/>
              <a:gd name="connsiteX4" fmla="*/ 347415 w 607648"/>
              <a:gd name="connsiteY4" fmla="*/ 221222 h 452537"/>
              <a:gd name="connsiteX5" fmla="*/ 398308 w 607648"/>
              <a:gd name="connsiteY5" fmla="*/ 221222 h 452537"/>
              <a:gd name="connsiteX6" fmla="*/ 414946 w 607648"/>
              <a:gd name="connsiteY6" fmla="*/ 226287 h 452537"/>
              <a:gd name="connsiteX7" fmla="*/ 414946 w 607648"/>
              <a:gd name="connsiteY7" fmla="*/ 250013 h 452537"/>
              <a:gd name="connsiteX8" fmla="*/ 347415 w 607648"/>
              <a:gd name="connsiteY8" fmla="*/ 250013 h 452537"/>
              <a:gd name="connsiteX9" fmla="*/ 326133 w 607648"/>
              <a:gd name="connsiteY9" fmla="*/ 221222 h 452537"/>
              <a:gd name="connsiteX10" fmla="*/ 334925 w 607648"/>
              <a:gd name="connsiteY10" fmla="*/ 221222 h 452537"/>
              <a:gd name="connsiteX11" fmla="*/ 334925 w 607648"/>
              <a:gd name="connsiteY11" fmla="*/ 250013 h 452537"/>
              <a:gd name="connsiteX12" fmla="*/ 326133 w 607648"/>
              <a:gd name="connsiteY12" fmla="*/ 250013 h 452537"/>
              <a:gd name="connsiteX13" fmla="*/ 321870 w 607648"/>
              <a:gd name="connsiteY13" fmla="*/ 245748 h 452537"/>
              <a:gd name="connsiteX14" fmla="*/ 321870 w 607648"/>
              <a:gd name="connsiteY14" fmla="*/ 225487 h 452537"/>
              <a:gd name="connsiteX15" fmla="*/ 326133 w 607648"/>
              <a:gd name="connsiteY15" fmla="*/ 221222 h 452537"/>
              <a:gd name="connsiteX16" fmla="*/ 336830 w 607648"/>
              <a:gd name="connsiteY16" fmla="*/ 179942 h 452537"/>
              <a:gd name="connsiteX17" fmla="*/ 385333 w 607648"/>
              <a:gd name="connsiteY17" fmla="*/ 179942 h 452537"/>
              <a:gd name="connsiteX18" fmla="*/ 383820 w 607648"/>
              <a:gd name="connsiteY18" fmla="*/ 201638 h 452537"/>
              <a:gd name="connsiteX19" fmla="*/ 386579 w 607648"/>
              <a:gd name="connsiteY19" fmla="*/ 208662 h 452537"/>
              <a:gd name="connsiteX20" fmla="*/ 336830 w 607648"/>
              <a:gd name="connsiteY20" fmla="*/ 208662 h 452537"/>
              <a:gd name="connsiteX21" fmla="*/ 314278 w 607648"/>
              <a:gd name="connsiteY21" fmla="*/ 179942 h 452537"/>
              <a:gd name="connsiteX22" fmla="*/ 325609 w 607648"/>
              <a:gd name="connsiteY22" fmla="*/ 179942 h 452537"/>
              <a:gd name="connsiteX23" fmla="*/ 325609 w 607648"/>
              <a:gd name="connsiteY23" fmla="*/ 208662 h 452537"/>
              <a:gd name="connsiteX24" fmla="*/ 314278 w 607648"/>
              <a:gd name="connsiteY24" fmla="*/ 208662 h 452537"/>
              <a:gd name="connsiteX25" fmla="*/ 310085 w 607648"/>
              <a:gd name="connsiteY25" fmla="*/ 204483 h 452537"/>
              <a:gd name="connsiteX26" fmla="*/ 310085 w 607648"/>
              <a:gd name="connsiteY26" fmla="*/ 184210 h 452537"/>
              <a:gd name="connsiteX27" fmla="*/ 314278 w 607648"/>
              <a:gd name="connsiteY27" fmla="*/ 179942 h 452537"/>
              <a:gd name="connsiteX28" fmla="*/ 76454 w 607648"/>
              <a:gd name="connsiteY28" fmla="*/ 178426 h 452537"/>
              <a:gd name="connsiteX29" fmla="*/ 103601 w 607648"/>
              <a:gd name="connsiteY29" fmla="*/ 178604 h 452537"/>
              <a:gd name="connsiteX30" fmla="*/ 132973 w 607648"/>
              <a:gd name="connsiteY30" fmla="*/ 208556 h 452537"/>
              <a:gd name="connsiteX31" fmla="*/ 132706 w 607648"/>
              <a:gd name="connsiteY31" fmla="*/ 225711 h 452537"/>
              <a:gd name="connsiteX32" fmla="*/ 126387 w 607648"/>
              <a:gd name="connsiteY32" fmla="*/ 226777 h 452537"/>
              <a:gd name="connsiteX33" fmla="*/ 109120 w 607648"/>
              <a:gd name="connsiteY33" fmla="*/ 208912 h 452537"/>
              <a:gd name="connsiteX34" fmla="*/ 126209 w 607648"/>
              <a:gd name="connsiteY34" fmla="*/ 238509 h 452537"/>
              <a:gd name="connsiteX35" fmla="*/ 177388 w 607648"/>
              <a:gd name="connsiteY35" fmla="*/ 229799 h 452537"/>
              <a:gd name="connsiteX36" fmla="*/ 197770 w 607648"/>
              <a:gd name="connsiteY36" fmla="*/ 244198 h 452537"/>
              <a:gd name="connsiteX37" fmla="*/ 191362 w 607648"/>
              <a:gd name="connsiteY37" fmla="*/ 260907 h 452537"/>
              <a:gd name="connsiteX38" fmla="*/ 191451 w 607648"/>
              <a:gd name="connsiteY38" fmla="*/ 260907 h 452537"/>
              <a:gd name="connsiteX39" fmla="*/ 430612 w 607648"/>
              <a:gd name="connsiteY39" fmla="*/ 260907 h 452537"/>
              <a:gd name="connsiteX40" fmla="*/ 444230 w 607648"/>
              <a:gd name="connsiteY40" fmla="*/ 274506 h 452537"/>
              <a:gd name="connsiteX41" fmla="*/ 430612 w 607648"/>
              <a:gd name="connsiteY41" fmla="*/ 288105 h 452537"/>
              <a:gd name="connsiteX42" fmla="*/ 424827 w 607648"/>
              <a:gd name="connsiteY42" fmla="*/ 288105 h 452537"/>
              <a:gd name="connsiteX43" fmla="*/ 424827 w 607648"/>
              <a:gd name="connsiteY43" fmla="*/ 437337 h 452537"/>
              <a:gd name="connsiteX44" fmla="*/ 409874 w 607648"/>
              <a:gd name="connsiteY44" fmla="*/ 452269 h 452537"/>
              <a:gd name="connsiteX45" fmla="*/ 394920 w 607648"/>
              <a:gd name="connsiteY45" fmla="*/ 437337 h 452537"/>
              <a:gd name="connsiteX46" fmla="*/ 394920 w 607648"/>
              <a:gd name="connsiteY46" fmla="*/ 288105 h 452537"/>
              <a:gd name="connsiteX47" fmla="*/ 227944 w 607648"/>
              <a:gd name="connsiteY47" fmla="*/ 288105 h 452537"/>
              <a:gd name="connsiteX48" fmla="*/ 227944 w 607648"/>
              <a:gd name="connsiteY48" fmla="*/ 437959 h 452537"/>
              <a:gd name="connsiteX49" fmla="*/ 213614 w 607648"/>
              <a:gd name="connsiteY49" fmla="*/ 452269 h 452537"/>
              <a:gd name="connsiteX50" fmla="*/ 198037 w 607648"/>
              <a:gd name="connsiteY50" fmla="*/ 437959 h 452537"/>
              <a:gd name="connsiteX51" fmla="*/ 198037 w 607648"/>
              <a:gd name="connsiteY51" fmla="*/ 288105 h 452537"/>
              <a:gd name="connsiteX52" fmla="*/ 191451 w 607648"/>
              <a:gd name="connsiteY52" fmla="*/ 288105 h 452537"/>
              <a:gd name="connsiteX53" fmla="*/ 177833 w 607648"/>
              <a:gd name="connsiteY53" fmla="*/ 274506 h 452537"/>
              <a:gd name="connsiteX54" fmla="*/ 181927 w 607648"/>
              <a:gd name="connsiteY54" fmla="*/ 264818 h 452537"/>
              <a:gd name="connsiteX55" fmla="*/ 117041 w 607648"/>
              <a:gd name="connsiteY55" fmla="*/ 275662 h 452537"/>
              <a:gd name="connsiteX56" fmla="*/ 101732 w 607648"/>
              <a:gd name="connsiteY56" fmla="*/ 266774 h 452537"/>
              <a:gd name="connsiteX57" fmla="*/ 78501 w 607648"/>
              <a:gd name="connsiteY57" fmla="*/ 226510 h 452537"/>
              <a:gd name="connsiteX58" fmla="*/ 91763 w 607648"/>
              <a:gd name="connsiteY58" fmla="*/ 272551 h 452537"/>
              <a:gd name="connsiteX59" fmla="*/ 115973 w 607648"/>
              <a:gd name="connsiteY59" fmla="*/ 287838 h 452537"/>
              <a:gd name="connsiteX60" fmla="*/ 131816 w 607648"/>
              <a:gd name="connsiteY60" fmla="*/ 285083 h 452537"/>
              <a:gd name="connsiteX61" fmla="*/ 131638 w 607648"/>
              <a:gd name="connsiteY61" fmla="*/ 296282 h 452537"/>
              <a:gd name="connsiteX62" fmla="*/ 180325 w 607648"/>
              <a:gd name="connsiteY62" fmla="*/ 296193 h 452537"/>
              <a:gd name="connsiteX63" fmla="*/ 180414 w 607648"/>
              <a:gd name="connsiteY63" fmla="*/ 296193 h 452537"/>
              <a:gd name="connsiteX64" fmla="*/ 186377 w 607648"/>
              <a:gd name="connsiteY64" fmla="*/ 297082 h 452537"/>
              <a:gd name="connsiteX65" fmla="*/ 186377 w 607648"/>
              <a:gd name="connsiteY65" fmla="*/ 364098 h 452537"/>
              <a:gd name="connsiteX66" fmla="*/ 160298 w 607648"/>
              <a:gd name="connsiteY66" fmla="*/ 438136 h 452537"/>
              <a:gd name="connsiteX67" fmla="*/ 133240 w 607648"/>
              <a:gd name="connsiteY67" fmla="*/ 451024 h 452537"/>
              <a:gd name="connsiteX68" fmla="*/ 120334 w 607648"/>
              <a:gd name="connsiteY68" fmla="*/ 424093 h 452537"/>
              <a:gd name="connsiteX69" fmla="*/ 150419 w 607648"/>
              <a:gd name="connsiteY69" fmla="*/ 338590 h 452537"/>
              <a:gd name="connsiteX70" fmla="*/ 136712 w 607648"/>
              <a:gd name="connsiteY70" fmla="*/ 338590 h 452537"/>
              <a:gd name="connsiteX71" fmla="*/ 127099 w 607648"/>
              <a:gd name="connsiteY71" fmla="*/ 366054 h 452537"/>
              <a:gd name="connsiteX72" fmla="*/ 62569 w 607648"/>
              <a:gd name="connsiteY72" fmla="*/ 366054 h 452537"/>
              <a:gd name="connsiteX73" fmla="*/ 52867 w 607648"/>
              <a:gd name="connsiteY73" fmla="*/ 391029 h 452537"/>
              <a:gd name="connsiteX74" fmla="*/ 118287 w 607648"/>
              <a:gd name="connsiteY74" fmla="*/ 391029 h 452537"/>
              <a:gd name="connsiteX75" fmla="*/ 111434 w 607648"/>
              <a:gd name="connsiteY75" fmla="*/ 410494 h 452537"/>
              <a:gd name="connsiteX76" fmla="*/ 45391 w 607648"/>
              <a:gd name="connsiteY76" fmla="*/ 410494 h 452537"/>
              <a:gd name="connsiteX77" fmla="*/ 31773 w 607648"/>
              <a:gd name="connsiteY77" fmla="*/ 445780 h 452537"/>
              <a:gd name="connsiteX78" fmla="*/ 19134 w 607648"/>
              <a:gd name="connsiteY78" fmla="*/ 451380 h 452537"/>
              <a:gd name="connsiteX79" fmla="*/ 13526 w 607648"/>
              <a:gd name="connsiteY79" fmla="*/ 438759 h 452537"/>
              <a:gd name="connsiteX80" fmla="*/ 41652 w 607648"/>
              <a:gd name="connsiteY80" fmla="*/ 366054 h 452537"/>
              <a:gd name="connsiteX81" fmla="*/ 27767 w 607648"/>
              <a:gd name="connsiteY81" fmla="*/ 354233 h 452537"/>
              <a:gd name="connsiteX82" fmla="*/ 264 w 607648"/>
              <a:gd name="connsiteY82" fmla="*/ 214423 h 452537"/>
              <a:gd name="connsiteX83" fmla="*/ 11835 w 607648"/>
              <a:gd name="connsiteY83" fmla="*/ 197357 h 452537"/>
              <a:gd name="connsiteX84" fmla="*/ 28924 w 607648"/>
              <a:gd name="connsiteY84" fmla="*/ 208823 h 452537"/>
              <a:gd name="connsiteX85" fmla="*/ 46904 w 607648"/>
              <a:gd name="connsiteY85" fmla="*/ 300015 h 452537"/>
              <a:gd name="connsiteX86" fmla="*/ 46637 w 607648"/>
              <a:gd name="connsiteY86" fmla="*/ 208023 h 452537"/>
              <a:gd name="connsiteX87" fmla="*/ 76454 w 607648"/>
              <a:gd name="connsiteY87" fmla="*/ 178426 h 452537"/>
              <a:gd name="connsiteX88" fmla="*/ 231808 w 607648"/>
              <a:gd name="connsiteY88" fmla="*/ 173217 h 452537"/>
              <a:gd name="connsiteX89" fmla="*/ 244177 w 607648"/>
              <a:gd name="connsiteY89" fmla="*/ 191255 h 452537"/>
              <a:gd name="connsiteX90" fmla="*/ 223354 w 607648"/>
              <a:gd name="connsiteY90" fmla="*/ 256743 h 452537"/>
              <a:gd name="connsiteX91" fmla="*/ 217748 w 607648"/>
              <a:gd name="connsiteY91" fmla="*/ 259675 h 452537"/>
              <a:gd name="connsiteX92" fmla="*/ 208138 w 607648"/>
              <a:gd name="connsiteY92" fmla="*/ 256654 h 452537"/>
              <a:gd name="connsiteX93" fmla="*/ 209294 w 607648"/>
              <a:gd name="connsiteY93" fmla="*/ 242526 h 452537"/>
              <a:gd name="connsiteX94" fmla="*/ 209205 w 607648"/>
              <a:gd name="connsiteY94" fmla="*/ 242259 h 452537"/>
              <a:gd name="connsiteX95" fmla="*/ 183844 w 607648"/>
              <a:gd name="connsiteY95" fmla="*/ 218179 h 452537"/>
              <a:gd name="connsiteX96" fmla="*/ 195056 w 607648"/>
              <a:gd name="connsiteY96" fmla="*/ 182991 h 452537"/>
              <a:gd name="connsiteX97" fmla="*/ 203777 w 607648"/>
              <a:gd name="connsiteY97" fmla="*/ 178459 h 452537"/>
              <a:gd name="connsiteX98" fmla="*/ 223265 w 607648"/>
              <a:gd name="connsiteY98" fmla="*/ 184591 h 452537"/>
              <a:gd name="connsiteX99" fmla="*/ 226647 w 607648"/>
              <a:gd name="connsiteY99" fmla="*/ 174017 h 452537"/>
              <a:gd name="connsiteX100" fmla="*/ 231808 w 607648"/>
              <a:gd name="connsiteY100" fmla="*/ 173217 h 452537"/>
              <a:gd name="connsiteX101" fmla="*/ 408383 w 607648"/>
              <a:gd name="connsiteY101" fmla="*/ 137250 h 452537"/>
              <a:gd name="connsiteX102" fmla="*/ 414344 w 607648"/>
              <a:gd name="connsiteY102" fmla="*/ 137250 h 452537"/>
              <a:gd name="connsiteX103" fmla="*/ 418615 w 607648"/>
              <a:gd name="connsiteY103" fmla="*/ 141421 h 452537"/>
              <a:gd name="connsiteX104" fmla="*/ 418615 w 607648"/>
              <a:gd name="connsiteY104" fmla="*/ 157927 h 452537"/>
              <a:gd name="connsiteX105" fmla="*/ 408383 w 607648"/>
              <a:gd name="connsiteY105" fmla="*/ 160678 h 452537"/>
              <a:gd name="connsiteX106" fmla="*/ 329794 w 607648"/>
              <a:gd name="connsiteY106" fmla="*/ 137250 h 452537"/>
              <a:gd name="connsiteX107" fmla="*/ 396740 w 607648"/>
              <a:gd name="connsiteY107" fmla="*/ 137250 h 452537"/>
              <a:gd name="connsiteX108" fmla="*/ 396740 w 607648"/>
              <a:gd name="connsiteY108" fmla="*/ 165900 h 452537"/>
              <a:gd name="connsiteX109" fmla="*/ 396651 w 607648"/>
              <a:gd name="connsiteY109" fmla="*/ 165900 h 452537"/>
              <a:gd name="connsiteX110" fmla="*/ 329794 w 607648"/>
              <a:gd name="connsiteY110" fmla="*/ 165900 h 452537"/>
              <a:gd name="connsiteX111" fmla="*/ 325610 w 607648"/>
              <a:gd name="connsiteY111" fmla="*/ 161731 h 452537"/>
              <a:gd name="connsiteX112" fmla="*/ 325610 w 607648"/>
              <a:gd name="connsiteY112" fmla="*/ 141419 h 452537"/>
              <a:gd name="connsiteX113" fmla="*/ 329794 w 607648"/>
              <a:gd name="connsiteY113" fmla="*/ 137250 h 452537"/>
              <a:gd name="connsiteX114" fmla="*/ 336830 w 607648"/>
              <a:gd name="connsiteY114" fmla="*/ 105142 h 452537"/>
              <a:gd name="connsiteX115" fmla="*/ 398822 w 607648"/>
              <a:gd name="connsiteY115" fmla="*/ 105142 h 452537"/>
              <a:gd name="connsiteX116" fmla="*/ 403091 w 607648"/>
              <a:gd name="connsiteY116" fmla="*/ 109400 h 452537"/>
              <a:gd name="connsiteX117" fmla="*/ 403091 w 607648"/>
              <a:gd name="connsiteY117" fmla="*/ 122971 h 452537"/>
              <a:gd name="connsiteX118" fmla="*/ 398822 w 607648"/>
              <a:gd name="connsiteY118" fmla="*/ 127229 h 452537"/>
              <a:gd name="connsiteX119" fmla="*/ 336830 w 607648"/>
              <a:gd name="connsiteY119" fmla="*/ 127229 h 452537"/>
              <a:gd name="connsiteX120" fmla="*/ 314280 w 607648"/>
              <a:gd name="connsiteY120" fmla="*/ 105142 h 452537"/>
              <a:gd name="connsiteX121" fmla="*/ 328291 w 607648"/>
              <a:gd name="connsiteY121" fmla="*/ 105142 h 452537"/>
              <a:gd name="connsiteX122" fmla="*/ 328291 w 607648"/>
              <a:gd name="connsiteY122" fmla="*/ 127229 h 452537"/>
              <a:gd name="connsiteX123" fmla="*/ 314280 w 607648"/>
              <a:gd name="connsiteY123" fmla="*/ 127229 h 452537"/>
              <a:gd name="connsiteX124" fmla="*/ 310085 w 607648"/>
              <a:gd name="connsiteY124" fmla="*/ 122971 h 452537"/>
              <a:gd name="connsiteX125" fmla="*/ 310085 w 607648"/>
              <a:gd name="connsiteY125" fmla="*/ 109400 h 452537"/>
              <a:gd name="connsiteX126" fmla="*/ 314280 w 607648"/>
              <a:gd name="connsiteY126" fmla="*/ 105142 h 452537"/>
              <a:gd name="connsiteX127" fmla="*/ 118907 w 607648"/>
              <a:gd name="connsiteY127" fmla="*/ 87736 h 452537"/>
              <a:gd name="connsiteX128" fmla="*/ 151567 w 607648"/>
              <a:gd name="connsiteY128" fmla="*/ 132071 h 452537"/>
              <a:gd name="connsiteX129" fmla="*/ 113033 w 607648"/>
              <a:gd name="connsiteY129" fmla="*/ 165123 h 452537"/>
              <a:gd name="connsiteX130" fmla="*/ 74499 w 607648"/>
              <a:gd name="connsiteY130" fmla="*/ 120343 h 452537"/>
              <a:gd name="connsiteX131" fmla="*/ 118907 w 607648"/>
              <a:gd name="connsiteY131" fmla="*/ 87736 h 452537"/>
              <a:gd name="connsiteX132" fmla="*/ 530674 w 607648"/>
              <a:gd name="connsiteY132" fmla="*/ 85993 h 452537"/>
              <a:gd name="connsiteX133" fmla="*/ 559777 w 607648"/>
              <a:gd name="connsiteY133" fmla="*/ 110612 h 452537"/>
              <a:gd name="connsiteX134" fmla="*/ 570101 w 607648"/>
              <a:gd name="connsiteY134" fmla="*/ 248460 h 452537"/>
              <a:gd name="connsiteX135" fmla="*/ 582739 w 607648"/>
              <a:gd name="connsiteY135" fmla="*/ 319650 h 452537"/>
              <a:gd name="connsiteX136" fmla="*/ 607125 w 607648"/>
              <a:gd name="connsiteY136" fmla="*/ 426301 h 452537"/>
              <a:gd name="connsiteX137" fmla="*/ 590927 w 607648"/>
              <a:gd name="connsiteY137" fmla="*/ 451987 h 452537"/>
              <a:gd name="connsiteX138" fmla="*/ 565117 w 607648"/>
              <a:gd name="connsiteY138" fmla="*/ 435811 h 452537"/>
              <a:gd name="connsiteX139" fmla="*/ 540731 w 607648"/>
              <a:gd name="connsiteY139" fmla="*/ 328626 h 452537"/>
              <a:gd name="connsiteX140" fmla="*/ 527025 w 607648"/>
              <a:gd name="connsiteY140" fmla="*/ 252015 h 452537"/>
              <a:gd name="connsiteX141" fmla="*/ 516879 w 607648"/>
              <a:gd name="connsiteY141" fmla="*/ 252814 h 452537"/>
              <a:gd name="connsiteX142" fmla="*/ 490268 w 607648"/>
              <a:gd name="connsiteY142" fmla="*/ 325427 h 452537"/>
              <a:gd name="connsiteX143" fmla="*/ 511717 w 607648"/>
              <a:gd name="connsiteY143" fmla="*/ 426479 h 452537"/>
              <a:gd name="connsiteX144" fmla="*/ 495074 w 607648"/>
              <a:gd name="connsiteY144" fmla="*/ 451898 h 452537"/>
              <a:gd name="connsiteX145" fmla="*/ 469619 w 607648"/>
              <a:gd name="connsiteY145" fmla="*/ 435367 h 452537"/>
              <a:gd name="connsiteX146" fmla="*/ 446924 w 607648"/>
              <a:gd name="connsiteY146" fmla="*/ 328271 h 452537"/>
              <a:gd name="connsiteX147" fmla="*/ 447725 w 607648"/>
              <a:gd name="connsiteY147" fmla="*/ 316450 h 452537"/>
              <a:gd name="connsiteX148" fmla="*/ 469619 w 607648"/>
              <a:gd name="connsiteY148" fmla="*/ 256725 h 452537"/>
              <a:gd name="connsiteX149" fmla="*/ 469441 w 607648"/>
              <a:gd name="connsiteY149" fmla="*/ 256725 h 452537"/>
              <a:gd name="connsiteX150" fmla="*/ 465881 w 607648"/>
              <a:gd name="connsiteY150" fmla="*/ 213975 h 452537"/>
              <a:gd name="connsiteX151" fmla="*/ 499346 w 607648"/>
              <a:gd name="connsiteY151" fmla="*/ 204999 h 452537"/>
              <a:gd name="connsiteX152" fmla="*/ 512874 w 607648"/>
              <a:gd name="connsiteY152" fmla="*/ 190334 h 452537"/>
              <a:gd name="connsiteX153" fmla="*/ 522219 w 607648"/>
              <a:gd name="connsiteY153" fmla="*/ 139408 h 452537"/>
              <a:gd name="connsiteX154" fmla="*/ 499257 w 607648"/>
              <a:gd name="connsiteY154" fmla="*/ 183224 h 452537"/>
              <a:gd name="connsiteX155" fmla="*/ 488043 w 607648"/>
              <a:gd name="connsiteY155" fmla="*/ 192201 h 452537"/>
              <a:gd name="connsiteX156" fmla="*/ 420580 w 607648"/>
              <a:gd name="connsiteY156" fmla="*/ 210331 h 452537"/>
              <a:gd name="connsiteX157" fmla="*/ 398597 w 607648"/>
              <a:gd name="connsiteY157" fmla="*/ 197711 h 452537"/>
              <a:gd name="connsiteX158" fmla="*/ 411324 w 607648"/>
              <a:gd name="connsiteY158" fmla="*/ 175759 h 452537"/>
              <a:gd name="connsiteX159" fmla="*/ 471132 w 607648"/>
              <a:gd name="connsiteY159" fmla="*/ 159672 h 452537"/>
              <a:gd name="connsiteX160" fmla="*/ 490446 w 607648"/>
              <a:gd name="connsiteY160" fmla="*/ 122877 h 452537"/>
              <a:gd name="connsiteX161" fmla="*/ 468996 w 607648"/>
              <a:gd name="connsiteY161" fmla="*/ 144385 h 452537"/>
              <a:gd name="connsiteX162" fmla="*/ 460363 w 607648"/>
              <a:gd name="connsiteY162" fmla="*/ 146696 h 452537"/>
              <a:gd name="connsiteX163" fmla="*/ 458049 w 607648"/>
              <a:gd name="connsiteY163" fmla="*/ 118966 h 452537"/>
              <a:gd name="connsiteX164" fmla="*/ 482703 w 607648"/>
              <a:gd name="connsiteY164" fmla="*/ 89904 h 452537"/>
              <a:gd name="connsiteX165" fmla="*/ 494826 w 607648"/>
              <a:gd name="connsiteY165" fmla="*/ 0 h 452537"/>
              <a:gd name="connsiteX166" fmla="*/ 531732 w 607648"/>
              <a:gd name="connsiteY166" fmla="*/ 36835 h 452537"/>
              <a:gd name="connsiteX167" fmla="*/ 494826 w 607648"/>
              <a:gd name="connsiteY167" fmla="*/ 73670 h 452537"/>
              <a:gd name="connsiteX168" fmla="*/ 457920 w 607648"/>
              <a:gd name="connsiteY168" fmla="*/ 36835 h 452537"/>
              <a:gd name="connsiteX169" fmla="*/ 494826 w 607648"/>
              <a:gd name="connsiteY169" fmla="*/ 0 h 452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607648" h="452537">
                <a:moveTo>
                  <a:pt x="51621" y="324013"/>
                </a:moveTo>
                <a:lnTo>
                  <a:pt x="54202" y="336812"/>
                </a:lnTo>
                <a:lnTo>
                  <a:pt x="69957" y="336812"/>
                </a:lnTo>
                <a:cubicBezTo>
                  <a:pt x="62658" y="335212"/>
                  <a:pt x="55982" y="330857"/>
                  <a:pt x="51621" y="324013"/>
                </a:cubicBezTo>
                <a:close/>
                <a:moveTo>
                  <a:pt x="347415" y="221222"/>
                </a:moveTo>
                <a:lnTo>
                  <a:pt x="398308" y="221222"/>
                </a:lnTo>
                <a:cubicBezTo>
                  <a:pt x="403202" y="224332"/>
                  <a:pt x="408985" y="226109"/>
                  <a:pt x="414946" y="226287"/>
                </a:cubicBezTo>
                <a:lnTo>
                  <a:pt x="414946" y="250013"/>
                </a:lnTo>
                <a:lnTo>
                  <a:pt x="347415" y="250013"/>
                </a:lnTo>
                <a:close/>
                <a:moveTo>
                  <a:pt x="326133" y="221222"/>
                </a:moveTo>
                <a:lnTo>
                  <a:pt x="334925" y="221222"/>
                </a:lnTo>
                <a:lnTo>
                  <a:pt x="334925" y="250013"/>
                </a:lnTo>
                <a:lnTo>
                  <a:pt x="326133" y="250013"/>
                </a:lnTo>
                <a:cubicBezTo>
                  <a:pt x="323824" y="250013"/>
                  <a:pt x="321870" y="248147"/>
                  <a:pt x="321870" y="245748"/>
                </a:cubicBezTo>
                <a:lnTo>
                  <a:pt x="321870" y="225487"/>
                </a:lnTo>
                <a:cubicBezTo>
                  <a:pt x="321870" y="223177"/>
                  <a:pt x="323824" y="221222"/>
                  <a:pt x="326133" y="221222"/>
                </a:cubicBezTo>
                <a:close/>
                <a:moveTo>
                  <a:pt x="336830" y="179942"/>
                </a:moveTo>
                <a:lnTo>
                  <a:pt x="385333" y="179942"/>
                </a:lnTo>
                <a:cubicBezTo>
                  <a:pt x="382485" y="186522"/>
                  <a:pt x="381773" y="194169"/>
                  <a:pt x="383820" y="201638"/>
                </a:cubicBezTo>
                <a:cubicBezTo>
                  <a:pt x="384443" y="204127"/>
                  <a:pt x="385422" y="206528"/>
                  <a:pt x="386579" y="208662"/>
                </a:cubicBezTo>
                <a:lnTo>
                  <a:pt x="336830" y="208662"/>
                </a:lnTo>
                <a:close/>
                <a:moveTo>
                  <a:pt x="314278" y="179942"/>
                </a:moveTo>
                <a:lnTo>
                  <a:pt x="325609" y="179942"/>
                </a:lnTo>
                <a:lnTo>
                  <a:pt x="325609" y="208662"/>
                </a:lnTo>
                <a:lnTo>
                  <a:pt x="314278" y="208662"/>
                </a:lnTo>
                <a:cubicBezTo>
                  <a:pt x="311959" y="208662"/>
                  <a:pt x="310085" y="206795"/>
                  <a:pt x="310085" y="204483"/>
                </a:cubicBezTo>
                <a:lnTo>
                  <a:pt x="310085" y="184210"/>
                </a:lnTo>
                <a:cubicBezTo>
                  <a:pt x="310085" y="181809"/>
                  <a:pt x="311959" y="179942"/>
                  <a:pt x="314278" y="179942"/>
                </a:cubicBezTo>
                <a:close/>
                <a:moveTo>
                  <a:pt x="76454" y="178426"/>
                </a:moveTo>
                <a:cubicBezTo>
                  <a:pt x="77967" y="178426"/>
                  <a:pt x="103601" y="178604"/>
                  <a:pt x="103601" y="178604"/>
                </a:cubicBezTo>
                <a:cubicBezTo>
                  <a:pt x="120067" y="178692"/>
                  <a:pt x="133240" y="192202"/>
                  <a:pt x="132973" y="208556"/>
                </a:cubicBezTo>
                <a:lnTo>
                  <a:pt x="132706" y="225711"/>
                </a:lnTo>
                <a:lnTo>
                  <a:pt x="126387" y="226777"/>
                </a:lnTo>
                <a:lnTo>
                  <a:pt x="109120" y="208912"/>
                </a:lnTo>
                <a:lnTo>
                  <a:pt x="126209" y="238509"/>
                </a:lnTo>
                <a:lnTo>
                  <a:pt x="177388" y="229799"/>
                </a:lnTo>
                <a:cubicBezTo>
                  <a:pt x="187001" y="228110"/>
                  <a:pt x="196168" y="234599"/>
                  <a:pt x="197770" y="244198"/>
                </a:cubicBezTo>
                <a:cubicBezTo>
                  <a:pt x="198927" y="250775"/>
                  <a:pt x="196257" y="257086"/>
                  <a:pt x="191362" y="260907"/>
                </a:cubicBezTo>
                <a:cubicBezTo>
                  <a:pt x="191451" y="260907"/>
                  <a:pt x="191451" y="260907"/>
                  <a:pt x="191451" y="260907"/>
                </a:cubicBezTo>
                <a:lnTo>
                  <a:pt x="430612" y="260907"/>
                </a:lnTo>
                <a:cubicBezTo>
                  <a:pt x="438089" y="260907"/>
                  <a:pt x="444230" y="267040"/>
                  <a:pt x="444230" y="274506"/>
                </a:cubicBezTo>
                <a:cubicBezTo>
                  <a:pt x="444230" y="282061"/>
                  <a:pt x="438089" y="288105"/>
                  <a:pt x="430612" y="288105"/>
                </a:cubicBezTo>
                <a:lnTo>
                  <a:pt x="424827" y="288105"/>
                </a:lnTo>
                <a:lnTo>
                  <a:pt x="424827" y="437337"/>
                </a:lnTo>
                <a:cubicBezTo>
                  <a:pt x="424827" y="445602"/>
                  <a:pt x="418151" y="452269"/>
                  <a:pt x="409874" y="452269"/>
                </a:cubicBezTo>
                <a:cubicBezTo>
                  <a:pt x="401685" y="452269"/>
                  <a:pt x="394920" y="445602"/>
                  <a:pt x="394920" y="437337"/>
                </a:cubicBezTo>
                <a:lnTo>
                  <a:pt x="394920" y="288105"/>
                </a:lnTo>
                <a:lnTo>
                  <a:pt x="227944" y="288105"/>
                </a:lnTo>
                <a:lnTo>
                  <a:pt x="227944" y="437959"/>
                </a:lnTo>
                <a:cubicBezTo>
                  <a:pt x="227944" y="445869"/>
                  <a:pt x="221535" y="452269"/>
                  <a:pt x="213614" y="452269"/>
                </a:cubicBezTo>
                <a:cubicBezTo>
                  <a:pt x="203111" y="452269"/>
                  <a:pt x="198037" y="444891"/>
                  <a:pt x="198037" y="437959"/>
                </a:cubicBezTo>
                <a:lnTo>
                  <a:pt x="198037" y="288105"/>
                </a:lnTo>
                <a:lnTo>
                  <a:pt x="191451" y="288105"/>
                </a:lnTo>
                <a:cubicBezTo>
                  <a:pt x="184063" y="288105"/>
                  <a:pt x="177833" y="282150"/>
                  <a:pt x="177833" y="274506"/>
                </a:cubicBezTo>
                <a:cubicBezTo>
                  <a:pt x="177833" y="270684"/>
                  <a:pt x="179435" y="267307"/>
                  <a:pt x="181927" y="264818"/>
                </a:cubicBezTo>
                <a:cubicBezTo>
                  <a:pt x="114460" y="276373"/>
                  <a:pt x="119177" y="275662"/>
                  <a:pt x="117041" y="275662"/>
                </a:cubicBezTo>
                <a:cubicBezTo>
                  <a:pt x="110811" y="275662"/>
                  <a:pt x="104936" y="272373"/>
                  <a:pt x="101732" y="266774"/>
                </a:cubicBezTo>
                <a:lnTo>
                  <a:pt x="78501" y="226510"/>
                </a:lnTo>
                <a:lnTo>
                  <a:pt x="91763" y="272551"/>
                </a:lnTo>
                <a:cubicBezTo>
                  <a:pt x="94700" y="282950"/>
                  <a:pt x="105114" y="289705"/>
                  <a:pt x="115973" y="287838"/>
                </a:cubicBezTo>
                <a:cubicBezTo>
                  <a:pt x="124073" y="286416"/>
                  <a:pt x="118643" y="287305"/>
                  <a:pt x="131816" y="285083"/>
                </a:cubicBezTo>
                <a:lnTo>
                  <a:pt x="131638" y="296282"/>
                </a:lnTo>
                <a:lnTo>
                  <a:pt x="180325" y="296193"/>
                </a:lnTo>
                <a:lnTo>
                  <a:pt x="180414" y="296193"/>
                </a:lnTo>
                <a:cubicBezTo>
                  <a:pt x="182461" y="296193"/>
                  <a:pt x="184419" y="296460"/>
                  <a:pt x="186377" y="297082"/>
                </a:cubicBezTo>
                <a:lnTo>
                  <a:pt x="186377" y="364098"/>
                </a:lnTo>
                <a:lnTo>
                  <a:pt x="160298" y="438136"/>
                </a:lnTo>
                <a:cubicBezTo>
                  <a:pt x="156382" y="449158"/>
                  <a:pt x="144366" y="454935"/>
                  <a:pt x="133240" y="451024"/>
                </a:cubicBezTo>
                <a:cubicBezTo>
                  <a:pt x="122204" y="447202"/>
                  <a:pt x="116418" y="435115"/>
                  <a:pt x="120334" y="424093"/>
                </a:cubicBezTo>
                <a:lnTo>
                  <a:pt x="150419" y="338590"/>
                </a:lnTo>
                <a:lnTo>
                  <a:pt x="136712" y="338590"/>
                </a:lnTo>
                <a:lnTo>
                  <a:pt x="127099" y="366054"/>
                </a:lnTo>
                <a:lnTo>
                  <a:pt x="62569" y="366054"/>
                </a:lnTo>
                <a:lnTo>
                  <a:pt x="52867" y="391029"/>
                </a:lnTo>
                <a:lnTo>
                  <a:pt x="118287" y="391029"/>
                </a:lnTo>
                <a:lnTo>
                  <a:pt x="111434" y="410494"/>
                </a:lnTo>
                <a:lnTo>
                  <a:pt x="45391" y="410494"/>
                </a:lnTo>
                <a:lnTo>
                  <a:pt x="31773" y="445780"/>
                </a:lnTo>
                <a:cubicBezTo>
                  <a:pt x="29814" y="450758"/>
                  <a:pt x="24207" y="453335"/>
                  <a:pt x="19134" y="451380"/>
                </a:cubicBezTo>
                <a:cubicBezTo>
                  <a:pt x="14149" y="449424"/>
                  <a:pt x="11657" y="443825"/>
                  <a:pt x="13526" y="438759"/>
                </a:cubicBezTo>
                <a:lnTo>
                  <a:pt x="41652" y="366054"/>
                </a:lnTo>
                <a:cubicBezTo>
                  <a:pt x="34888" y="365787"/>
                  <a:pt x="29102" y="360988"/>
                  <a:pt x="27767" y="354233"/>
                </a:cubicBezTo>
                <a:lnTo>
                  <a:pt x="264" y="214423"/>
                </a:lnTo>
                <a:cubicBezTo>
                  <a:pt x="-1249" y="206512"/>
                  <a:pt x="3914" y="198868"/>
                  <a:pt x="11835" y="197357"/>
                </a:cubicBezTo>
                <a:cubicBezTo>
                  <a:pt x="19757" y="195758"/>
                  <a:pt x="27411" y="200913"/>
                  <a:pt x="28924" y="208823"/>
                </a:cubicBezTo>
                <a:lnTo>
                  <a:pt x="46904" y="300015"/>
                </a:lnTo>
                <a:lnTo>
                  <a:pt x="46637" y="208023"/>
                </a:lnTo>
                <a:cubicBezTo>
                  <a:pt x="46637" y="191580"/>
                  <a:pt x="59988" y="178248"/>
                  <a:pt x="76454" y="178426"/>
                </a:cubicBezTo>
                <a:close/>
                <a:moveTo>
                  <a:pt x="231808" y="173217"/>
                </a:moveTo>
                <a:lnTo>
                  <a:pt x="244177" y="191255"/>
                </a:lnTo>
                <a:lnTo>
                  <a:pt x="223354" y="256743"/>
                </a:lnTo>
                <a:cubicBezTo>
                  <a:pt x="222642" y="259142"/>
                  <a:pt x="220151" y="260386"/>
                  <a:pt x="217748" y="259675"/>
                </a:cubicBezTo>
                <a:lnTo>
                  <a:pt x="208138" y="256654"/>
                </a:lnTo>
                <a:cubicBezTo>
                  <a:pt x="209650" y="252211"/>
                  <a:pt x="210095" y="247413"/>
                  <a:pt x="209294" y="242526"/>
                </a:cubicBezTo>
                <a:cubicBezTo>
                  <a:pt x="209294" y="242437"/>
                  <a:pt x="209294" y="242348"/>
                  <a:pt x="209205" y="242259"/>
                </a:cubicBezTo>
                <a:cubicBezTo>
                  <a:pt x="206981" y="229197"/>
                  <a:pt x="196391" y="219689"/>
                  <a:pt x="183844" y="218179"/>
                </a:cubicBezTo>
                <a:lnTo>
                  <a:pt x="195056" y="182991"/>
                </a:lnTo>
                <a:cubicBezTo>
                  <a:pt x="196213" y="179348"/>
                  <a:pt x="200129" y="177304"/>
                  <a:pt x="203777" y="178459"/>
                </a:cubicBezTo>
                <a:lnTo>
                  <a:pt x="223265" y="184591"/>
                </a:lnTo>
                <a:lnTo>
                  <a:pt x="226647" y="174017"/>
                </a:lnTo>
                <a:cubicBezTo>
                  <a:pt x="227359" y="171706"/>
                  <a:pt x="230473" y="171262"/>
                  <a:pt x="231808" y="173217"/>
                </a:cubicBezTo>
                <a:close/>
                <a:moveTo>
                  <a:pt x="408383" y="137250"/>
                </a:moveTo>
                <a:lnTo>
                  <a:pt x="414344" y="137250"/>
                </a:lnTo>
                <a:cubicBezTo>
                  <a:pt x="416747" y="137250"/>
                  <a:pt x="418615" y="139114"/>
                  <a:pt x="418615" y="141421"/>
                </a:cubicBezTo>
                <a:lnTo>
                  <a:pt x="418615" y="157927"/>
                </a:lnTo>
                <a:lnTo>
                  <a:pt x="408383" y="160678"/>
                </a:lnTo>
                <a:close/>
                <a:moveTo>
                  <a:pt x="329794" y="137250"/>
                </a:moveTo>
                <a:lnTo>
                  <a:pt x="396740" y="137250"/>
                </a:lnTo>
                <a:lnTo>
                  <a:pt x="396740" y="165900"/>
                </a:lnTo>
                <a:cubicBezTo>
                  <a:pt x="396740" y="165900"/>
                  <a:pt x="396740" y="165900"/>
                  <a:pt x="396651" y="165900"/>
                </a:cubicBezTo>
                <a:lnTo>
                  <a:pt x="329794" y="165900"/>
                </a:lnTo>
                <a:cubicBezTo>
                  <a:pt x="327480" y="165900"/>
                  <a:pt x="325610" y="164037"/>
                  <a:pt x="325610" y="161731"/>
                </a:cubicBezTo>
                <a:lnTo>
                  <a:pt x="325610" y="141419"/>
                </a:lnTo>
                <a:cubicBezTo>
                  <a:pt x="325610" y="139113"/>
                  <a:pt x="327480" y="137250"/>
                  <a:pt x="329794" y="137250"/>
                </a:cubicBezTo>
                <a:close/>
                <a:moveTo>
                  <a:pt x="336830" y="105142"/>
                </a:moveTo>
                <a:lnTo>
                  <a:pt x="398822" y="105142"/>
                </a:lnTo>
                <a:cubicBezTo>
                  <a:pt x="401134" y="105142"/>
                  <a:pt x="403091" y="107005"/>
                  <a:pt x="403091" y="109400"/>
                </a:cubicBezTo>
                <a:lnTo>
                  <a:pt x="403091" y="122971"/>
                </a:lnTo>
                <a:cubicBezTo>
                  <a:pt x="403091" y="125278"/>
                  <a:pt x="401134" y="127229"/>
                  <a:pt x="398822" y="127229"/>
                </a:cubicBezTo>
                <a:lnTo>
                  <a:pt x="336830" y="127229"/>
                </a:lnTo>
                <a:close/>
                <a:moveTo>
                  <a:pt x="314280" y="105142"/>
                </a:moveTo>
                <a:lnTo>
                  <a:pt x="328291" y="105142"/>
                </a:lnTo>
                <a:lnTo>
                  <a:pt x="328291" y="127229"/>
                </a:lnTo>
                <a:lnTo>
                  <a:pt x="314280" y="127229"/>
                </a:lnTo>
                <a:cubicBezTo>
                  <a:pt x="311959" y="127229"/>
                  <a:pt x="310085" y="125278"/>
                  <a:pt x="310085" y="122971"/>
                </a:cubicBezTo>
                <a:lnTo>
                  <a:pt x="310085" y="109400"/>
                </a:lnTo>
                <a:cubicBezTo>
                  <a:pt x="310085" y="107005"/>
                  <a:pt x="311959" y="105142"/>
                  <a:pt x="314280" y="105142"/>
                </a:cubicBezTo>
                <a:close/>
                <a:moveTo>
                  <a:pt x="118907" y="87736"/>
                </a:moveTo>
                <a:cubicBezTo>
                  <a:pt x="140176" y="91023"/>
                  <a:pt x="154771" y="110836"/>
                  <a:pt x="151567" y="132071"/>
                </a:cubicBezTo>
                <a:cubicBezTo>
                  <a:pt x="148631" y="151263"/>
                  <a:pt x="132078" y="165123"/>
                  <a:pt x="113033" y="165123"/>
                </a:cubicBezTo>
                <a:cubicBezTo>
                  <a:pt x="89094" y="165123"/>
                  <a:pt x="70939" y="143888"/>
                  <a:pt x="74499" y="120343"/>
                </a:cubicBezTo>
                <a:cubicBezTo>
                  <a:pt x="77792" y="99019"/>
                  <a:pt x="97637" y="84537"/>
                  <a:pt x="118907" y="87736"/>
                </a:cubicBezTo>
                <a:close/>
                <a:moveTo>
                  <a:pt x="530674" y="85993"/>
                </a:moveTo>
                <a:cubicBezTo>
                  <a:pt x="545537" y="84749"/>
                  <a:pt x="558620" y="95770"/>
                  <a:pt x="559777" y="110612"/>
                </a:cubicBezTo>
                <a:lnTo>
                  <a:pt x="570101" y="248460"/>
                </a:lnTo>
                <a:lnTo>
                  <a:pt x="582739" y="319650"/>
                </a:lnTo>
                <a:lnTo>
                  <a:pt x="607125" y="426301"/>
                </a:lnTo>
                <a:cubicBezTo>
                  <a:pt x="609706" y="437855"/>
                  <a:pt x="602497" y="449409"/>
                  <a:pt x="590927" y="451987"/>
                </a:cubicBezTo>
                <a:cubicBezTo>
                  <a:pt x="579357" y="454653"/>
                  <a:pt x="567787" y="447365"/>
                  <a:pt x="565117" y="435811"/>
                </a:cubicBezTo>
                <a:lnTo>
                  <a:pt x="540731" y="328626"/>
                </a:lnTo>
                <a:cubicBezTo>
                  <a:pt x="540553" y="327826"/>
                  <a:pt x="527203" y="252814"/>
                  <a:pt x="527025" y="252015"/>
                </a:cubicBezTo>
                <a:lnTo>
                  <a:pt x="516879" y="252814"/>
                </a:lnTo>
                <a:lnTo>
                  <a:pt x="490268" y="325427"/>
                </a:lnTo>
                <a:lnTo>
                  <a:pt x="511717" y="426479"/>
                </a:lnTo>
                <a:cubicBezTo>
                  <a:pt x="514120" y="438033"/>
                  <a:pt x="506733" y="449409"/>
                  <a:pt x="495074" y="451898"/>
                </a:cubicBezTo>
                <a:cubicBezTo>
                  <a:pt x="483504" y="454386"/>
                  <a:pt x="472022" y="446921"/>
                  <a:pt x="469619" y="435367"/>
                </a:cubicBezTo>
                <a:lnTo>
                  <a:pt x="446924" y="328271"/>
                </a:lnTo>
                <a:cubicBezTo>
                  <a:pt x="446034" y="324271"/>
                  <a:pt x="446390" y="320183"/>
                  <a:pt x="447725" y="316450"/>
                </a:cubicBezTo>
                <a:lnTo>
                  <a:pt x="469619" y="256725"/>
                </a:lnTo>
                <a:lnTo>
                  <a:pt x="469441" y="256725"/>
                </a:lnTo>
                <a:lnTo>
                  <a:pt x="465881" y="213975"/>
                </a:lnTo>
                <a:cubicBezTo>
                  <a:pt x="496587" y="205710"/>
                  <a:pt x="489912" y="207576"/>
                  <a:pt x="499346" y="204999"/>
                </a:cubicBezTo>
                <a:cubicBezTo>
                  <a:pt x="506110" y="203221"/>
                  <a:pt x="511539" y="197622"/>
                  <a:pt x="512874" y="190334"/>
                </a:cubicBezTo>
                <a:lnTo>
                  <a:pt x="522219" y="139408"/>
                </a:lnTo>
                <a:lnTo>
                  <a:pt x="499257" y="183224"/>
                </a:lnTo>
                <a:cubicBezTo>
                  <a:pt x="496943" y="187579"/>
                  <a:pt x="492849" y="190868"/>
                  <a:pt x="488043" y="192201"/>
                </a:cubicBezTo>
                <a:lnTo>
                  <a:pt x="420580" y="210331"/>
                </a:lnTo>
                <a:cubicBezTo>
                  <a:pt x="411057" y="212909"/>
                  <a:pt x="401178" y="207221"/>
                  <a:pt x="398597" y="197711"/>
                </a:cubicBezTo>
                <a:cubicBezTo>
                  <a:pt x="396105" y="188112"/>
                  <a:pt x="401712" y="178336"/>
                  <a:pt x="411324" y="175759"/>
                </a:cubicBezTo>
                <a:lnTo>
                  <a:pt x="471132" y="159672"/>
                </a:lnTo>
                <a:lnTo>
                  <a:pt x="490446" y="122877"/>
                </a:lnTo>
                <a:lnTo>
                  <a:pt x="468996" y="144385"/>
                </a:lnTo>
                <a:lnTo>
                  <a:pt x="460363" y="146696"/>
                </a:lnTo>
                <a:lnTo>
                  <a:pt x="458049" y="118966"/>
                </a:lnTo>
                <a:cubicBezTo>
                  <a:pt x="456803" y="104124"/>
                  <a:pt x="467928" y="91148"/>
                  <a:pt x="482703" y="89904"/>
                </a:cubicBezTo>
                <a:close/>
                <a:moveTo>
                  <a:pt x="494826" y="0"/>
                </a:moveTo>
                <a:cubicBezTo>
                  <a:pt x="515209" y="0"/>
                  <a:pt x="531732" y="16492"/>
                  <a:pt x="531732" y="36835"/>
                </a:cubicBezTo>
                <a:cubicBezTo>
                  <a:pt x="531732" y="57178"/>
                  <a:pt x="515209" y="73670"/>
                  <a:pt x="494826" y="73670"/>
                </a:cubicBezTo>
                <a:cubicBezTo>
                  <a:pt x="474443" y="73670"/>
                  <a:pt x="457920" y="57178"/>
                  <a:pt x="457920" y="36835"/>
                </a:cubicBezTo>
                <a:cubicBezTo>
                  <a:pt x="457920" y="16492"/>
                  <a:pt x="474443" y="0"/>
                  <a:pt x="494826" y="0"/>
                </a:cubicBezTo>
                <a:close/>
              </a:path>
            </a:pathLst>
          </a:custGeom>
          <a:solidFill>
            <a:srgbClr val="149CEA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35236" y="1798320"/>
            <a:ext cx="3634763" cy="4437380"/>
          </a:xfrm>
          <a:prstGeom prst="rect">
            <a:avLst/>
          </a:prstGeom>
          <a:blipFill dpi="0" rotWithShape="1">
            <a:blip r:embed="rId1"/>
            <a:srcRect/>
            <a:stretch>
              <a:fillRect l="-30000" r="-30000"/>
            </a:stretch>
          </a:blip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478976" y="1311766"/>
            <a:ext cx="6096000" cy="304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课堂是教师发挥作用的主</a:t>
            </a:r>
            <a:r>
              <a:rPr lang="zh-CN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阵</a:t>
            </a:r>
            <a:r>
              <a:rPr lang="zh-CN" altLang="zh-CN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</a:t>
            </a:r>
            <a:endParaRPr lang="en-US" altLang="zh-CN" b="1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/>
      <p:bldP spid="10" grpId="0"/>
      <p:bldP spid="11" grpId="0"/>
      <p:bldP spid="18" grpId="0" animBg="1"/>
      <p:bldP spid="19" grpId="0" animBg="1"/>
      <p:bldP spid="17" grpId="0" animBg="1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3.</a:t>
            </a:r>
            <a:r>
              <a:rPr lang="zh-CN" altLang="zh-CN"/>
              <a:t>把收获作为检验的</a:t>
            </a:r>
            <a:r>
              <a:rPr lang="zh-CN" altLang="zh-CN"/>
              <a:t>标</a:t>
            </a:r>
            <a:r>
              <a:rPr lang="zh-CN" altLang="zh-CN" smtClean="0"/>
              <a:t>准</a:t>
            </a:r>
            <a:endParaRPr lang="zh-CN" altLang="zh-CN"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9601200" y="0"/>
            <a:ext cx="2590800" cy="6858000"/>
          </a:xfrm>
          <a:prstGeom prst="rect">
            <a:avLst/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i="1"/>
          </a:p>
        </p:txBody>
      </p:sp>
      <p:sp>
        <p:nvSpPr>
          <p:cNvPr id="4" name="矩形 3"/>
          <p:cNvSpPr/>
          <p:nvPr/>
        </p:nvSpPr>
        <p:spPr>
          <a:xfrm>
            <a:off x="7049423" y="1733282"/>
            <a:ext cx="6245628" cy="4118878"/>
          </a:xfrm>
          <a:prstGeom prst="rect">
            <a:avLst/>
          </a:prstGeom>
          <a:blipFill>
            <a:blip r:embed="rId1"/>
            <a:srcRect/>
            <a:stretch>
              <a:fillRect t="-6889" b="-68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i="1"/>
          </a:p>
        </p:txBody>
      </p:sp>
      <p:grpSp>
        <p:nvGrpSpPr>
          <p:cNvPr id="5" name="组合 4"/>
          <p:cNvGrpSpPr/>
          <p:nvPr/>
        </p:nvGrpSpPr>
        <p:grpSpPr>
          <a:xfrm>
            <a:off x="660400" y="2239896"/>
            <a:ext cx="5913120" cy="1490059"/>
            <a:chOff x="833969" y="1645536"/>
            <a:chExt cx="4521637" cy="1490059"/>
          </a:xfrm>
        </p:grpSpPr>
        <p:sp>
          <p:nvSpPr>
            <p:cNvPr id="6" name="矩形 5"/>
            <p:cNvSpPr/>
            <p:nvPr/>
          </p:nvSpPr>
          <p:spPr>
            <a:xfrm>
              <a:off x="1589854" y="2181872"/>
              <a:ext cx="3765752" cy="953723"/>
            </a:xfrm>
            <a:prstGeom prst="rect">
              <a:avLst/>
            </a:prstGeom>
            <a:noFill/>
          </p:spPr>
          <p:txBody>
            <a:bodyPr wrap="square" lIns="0" tIns="45720" rIns="91440" bIns="45720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将科学细致地规划工作，尽快融入新的环境，适应新的角色，边学边干，边研究边提高。</a:t>
              </a:r>
              <a:endParaRPr lang="en-US" altLang="zh-CN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1589854" y="1645536"/>
              <a:ext cx="3765752" cy="497316"/>
            </a:xfrm>
            <a:prstGeom prst="rect">
              <a:avLst/>
            </a:prstGeom>
            <a:noFill/>
          </p:spPr>
          <p:txBody>
            <a:bodyPr wrap="square" lIns="0" tIns="45720" rIns="91440" bIns="45720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z="2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边研究边提高</a:t>
              </a:r>
              <a:endPara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share_208915"/>
            <p:cNvSpPr>
              <a:spLocks noChangeAspect="1"/>
            </p:cNvSpPr>
            <p:nvPr/>
          </p:nvSpPr>
          <p:spPr bwMode="auto">
            <a:xfrm>
              <a:off x="833969" y="1724321"/>
              <a:ext cx="496891" cy="60869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606580" h="605592">
                  <a:moveTo>
                    <a:pt x="303325" y="527342"/>
                  </a:moveTo>
                  <a:cubicBezTo>
                    <a:pt x="291816" y="527342"/>
                    <a:pt x="282534" y="536613"/>
                    <a:pt x="282534" y="548110"/>
                  </a:cubicBezTo>
                  <a:cubicBezTo>
                    <a:pt x="282534" y="559606"/>
                    <a:pt x="291816" y="568878"/>
                    <a:pt x="303325" y="568878"/>
                  </a:cubicBezTo>
                  <a:cubicBezTo>
                    <a:pt x="314834" y="568878"/>
                    <a:pt x="324116" y="559606"/>
                    <a:pt x="324116" y="548110"/>
                  </a:cubicBezTo>
                  <a:cubicBezTo>
                    <a:pt x="324116" y="536613"/>
                    <a:pt x="314834" y="527342"/>
                    <a:pt x="303325" y="527342"/>
                  </a:cubicBezTo>
                  <a:close/>
                  <a:moveTo>
                    <a:pt x="129454" y="455522"/>
                  </a:moveTo>
                  <a:cubicBezTo>
                    <a:pt x="124139" y="455522"/>
                    <a:pt x="118825" y="457561"/>
                    <a:pt x="114740" y="461638"/>
                  </a:cubicBezTo>
                  <a:cubicBezTo>
                    <a:pt x="106571" y="469792"/>
                    <a:pt x="106571" y="482857"/>
                    <a:pt x="114740" y="491012"/>
                  </a:cubicBezTo>
                  <a:cubicBezTo>
                    <a:pt x="122909" y="499166"/>
                    <a:pt x="135998" y="499166"/>
                    <a:pt x="144168" y="491012"/>
                  </a:cubicBezTo>
                  <a:cubicBezTo>
                    <a:pt x="152337" y="482857"/>
                    <a:pt x="152337" y="469700"/>
                    <a:pt x="144168" y="461638"/>
                  </a:cubicBezTo>
                  <a:cubicBezTo>
                    <a:pt x="140083" y="457561"/>
                    <a:pt x="134768" y="455522"/>
                    <a:pt x="129454" y="455522"/>
                  </a:cubicBezTo>
                  <a:close/>
                  <a:moveTo>
                    <a:pt x="477117" y="455504"/>
                  </a:moveTo>
                  <a:cubicBezTo>
                    <a:pt x="471801" y="455504"/>
                    <a:pt x="466486" y="457543"/>
                    <a:pt x="462401" y="461622"/>
                  </a:cubicBezTo>
                  <a:cubicBezTo>
                    <a:pt x="454230" y="469688"/>
                    <a:pt x="454230" y="482852"/>
                    <a:pt x="462401" y="491010"/>
                  </a:cubicBezTo>
                  <a:cubicBezTo>
                    <a:pt x="470571" y="499168"/>
                    <a:pt x="483662" y="499168"/>
                    <a:pt x="491832" y="491010"/>
                  </a:cubicBezTo>
                  <a:cubicBezTo>
                    <a:pt x="500003" y="482852"/>
                    <a:pt x="500003" y="469780"/>
                    <a:pt x="491832" y="461622"/>
                  </a:cubicBezTo>
                  <a:cubicBezTo>
                    <a:pt x="487747" y="457543"/>
                    <a:pt x="482432" y="455504"/>
                    <a:pt x="477117" y="455504"/>
                  </a:cubicBezTo>
                  <a:close/>
                  <a:moveTo>
                    <a:pt x="322724" y="445197"/>
                  </a:moveTo>
                  <a:lnTo>
                    <a:pt x="322724" y="494150"/>
                  </a:lnTo>
                  <a:cubicBezTo>
                    <a:pt x="344999" y="502124"/>
                    <a:pt x="360871" y="523262"/>
                    <a:pt x="360871" y="548110"/>
                  </a:cubicBezTo>
                  <a:cubicBezTo>
                    <a:pt x="360871" y="579910"/>
                    <a:pt x="335068" y="605592"/>
                    <a:pt x="303325" y="605592"/>
                  </a:cubicBezTo>
                  <a:cubicBezTo>
                    <a:pt x="271489" y="605592"/>
                    <a:pt x="245779" y="579910"/>
                    <a:pt x="245779" y="548110"/>
                  </a:cubicBezTo>
                  <a:cubicBezTo>
                    <a:pt x="245779" y="523077"/>
                    <a:pt x="261929" y="501660"/>
                    <a:pt x="284483" y="493872"/>
                  </a:cubicBezTo>
                  <a:lnTo>
                    <a:pt x="284483" y="445290"/>
                  </a:lnTo>
                  <a:cubicBezTo>
                    <a:pt x="290702" y="446032"/>
                    <a:pt x="297014" y="446495"/>
                    <a:pt x="303325" y="446495"/>
                  </a:cubicBezTo>
                  <a:cubicBezTo>
                    <a:pt x="309822" y="446495"/>
                    <a:pt x="316412" y="446032"/>
                    <a:pt x="322724" y="445197"/>
                  </a:cubicBezTo>
                  <a:close/>
                  <a:moveTo>
                    <a:pt x="188633" y="389733"/>
                  </a:moveTo>
                  <a:cubicBezTo>
                    <a:pt x="196431" y="399833"/>
                    <a:pt x="205436" y="409007"/>
                    <a:pt x="215647" y="416883"/>
                  </a:cubicBezTo>
                  <a:lnTo>
                    <a:pt x="181207" y="451260"/>
                  </a:lnTo>
                  <a:cubicBezTo>
                    <a:pt x="191604" y="472665"/>
                    <a:pt x="187984" y="499166"/>
                    <a:pt x="170160" y="516957"/>
                  </a:cubicBezTo>
                  <a:cubicBezTo>
                    <a:pt x="147695" y="539473"/>
                    <a:pt x="111306" y="539473"/>
                    <a:pt x="88748" y="516957"/>
                  </a:cubicBezTo>
                  <a:cubicBezTo>
                    <a:pt x="66190" y="494533"/>
                    <a:pt x="66190" y="458210"/>
                    <a:pt x="88748" y="435693"/>
                  </a:cubicBezTo>
                  <a:cubicBezTo>
                    <a:pt x="106478" y="417995"/>
                    <a:pt x="132657" y="414288"/>
                    <a:pt x="154008" y="424296"/>
                  </a:cubicBezTo>
                  <a:close/>
                  <a:moveTo>
                    <a:pt x="417928" y="389591"/>
                  </a:moveTo>
                  <a:lnTo>
                    <a:pt x="452652" y="424170"/>
                  </a:lnTo>
                  <a:cubicBezTo>
                    <a:pt x="474006" y="414158"/>
                    <a:pt x="500281" y="417959"/>
                    <a:pt x="517829" y="435573"/>
                  </a:cubicBezTo>
                  <a:cubicBezTo>
                    <a:pt x="540390" y="458007"/>
                    <a:pt x="540390" y="494347"/>
                    <a:pt x="517829" y="516874"/>
                  </a:cubicBezTo>
                  <a:cubicBezTo>
                    <a:pt x="495360" y="539401"/>
                    <a:pt x="458965" y="539401"/>
                    <a:pt x="436404" y="516874"/>
                  </a:cubicBezTo>
                  <a:cubicBezTo>
                    <a:pt x="418578" y="499075"/>
                    <a:pt x="414957" y="472654"/>
                    <a:pt x="425356" y="450961"/>
                  </a:cubicBezTo>
                  <a:lnTo>
                    <a:pt x="391003" y="416661"/>
                  </a:lnTo>
                  <a:cubicBezTo>
                    <a:pt x="401123" y="408874"/>
                    <a:pt x="410129" y="399696"/>
                    <a:pt x="417928" y="389591"/>
                  </a:cubicBezTo>
                  <a:close/>
                  <a:moveTo>
                    <a:pt x="549021" y="282066"/>
                  </a:moveTo>
                  <a:cubicBezTo>
                    <a:pt x="537510" y="282066"/>
                    <a:pt x="528226" y="291337"/>
                    <a:pt x="528226" y="302832"/>
                  </a:cubicBezTo>
                  <a:cubicBezTo>
                    <a:pt x="528226" y="314327"/>
                    <a:pt x="537510" y="323597"/>
                    <a:pt x="549021" y="323597"/>
                  </a:cubicBezTo>
                  <a:cubicBezTo>
                    <a:pt x="560533" y="323597"/>
                    <a:pt x="569817" y="314327"/>
                    <a:pt x="569817" y="302832"/>
                  </a:cubicBezTo>
                  <a:cubicBezTo>
                    <a:pt x="569817" y="291337"/>
                    <a:pt x="560533" y="282066"/>
                    <a:pt x="549021" y="282066"/>
                  </a:cubicBezTo>
                  <a:close/>
                  <a:moveTo>
                    <a:pt x="57576" y="282066"/>
                  </a:moveTo>
                  <a:cubicBezTo>
                    <a:pt x="46061" y="282066"/>
                    <a:pt x="36774" y="291337"/>
                    <a:pt x="36774" y="302832"/>
                  </a:cubicBezTo>
                  <a:cubicBezTo>
                    <a:pt x="36774" y="314327"/>
                    <a:pt x="46061" y="323597"/>
                    <a:pt x="57576" y="323597"/>
                  </a:cubicBezTo>
                  <a:cubicBezTo>
                    <a:pt x="69091" y="323597"/>
                    <a:pt x="78377" y="314327"/>
                    <a:pt x="78377" y="302832"/>
                  </a:cubicBezTo>
                  <a:cubicBezTo>
                    <a:pt x="78377" y="291337"/>
                    <a:pt x="69091" y="282066"/>
                    <a:pt x="57576" y="282066"/>
                  </a:cubicBezTo>
                  <a:close/>
                  <a:moveTo>
                    <a:pt x="338247" y="256990"/>
                  </a:moveTo>
                  <a:lnTo>
                    <a:pt x="289039" y="305844"/>
                  </a:lnTo>
                  <a:lnTo>
                    <a:pt x="268520" y="285172"/>
                  </a:lnTo>
                  <a:lnTo>
                    <a:pt x="246980" y="306586"/>
                  </a:lnTo>
                  <a:lnTo>
                    <a:pt x="267685" y="327165"/>
                  </a:lnTo>
                  <a:lnTo>
                    <a:pt x="288946" y="348579"/>
                  </a:lnTo>
                  <a:lnTo>
                    <a:pt x="310393" y="327165"/>
                  </a:lnTo>
                  <a:lnTo>
                    <a:pt x="359508" y="278404"/>
                  </a:lnTo>
                  <a:close/>
                  <a:moveTo>
                    <a:pt x="549021" y="245356"/>
                  </a:moveTo>
                  <a:cubicBezTo>
                    <a:pt x="580864" y="245356"/>
                    <a:pt x="606580" y="271035"/>
                    <a:pt x="606580" y="302832"/>
                  </a:cubicBezTo>
                  <a:cubicBezTo>
                    <a:pt x="606580" y="334536"/>
                    <a:pt x="580864" y="360307"/>
                    <a:pt x="549021" y="360307"/>
                  </a:cubicBezTo>
                  <a:cubicBezTo>
                    <a:pt x="523956" y="360307"/>
                    <a:pt x="502510" y="344084"/>
                    <a:pt x="494712" y="321558"/>
                  </a:cubicBezTo>
                  <a:lnTo>
                    <a:pt x="446066" y="321558"/>
                  </a:lnTo>
                  <a:cubicBezTo>
                    <a:pt x="446809" y="315439"/>
                    <a:pt x="447273" y="309136"/>
                    <a:pt x="447273" y="302832"/>
                  </a:cubicBezTo>
                  <a:cubicBezTo>
                    <a:pt x="447273" y="296250"/>
                    <a:pt x="446809" y="289668"/>
                    <a:pt x="445973" y="283364"/>
                  </a:cubicBezTo>
                  <a:lnTo>
                    <a:pt x="494991" y="283364"/>
                  </a:lnTo>
                  <a:cubicBezTo>
                    <a:pt x="502882" y="261116"/>
                    <a:pt x="524048" y="245356"/>
                    <a:pt x="549021" y="245356"/>
                  </a:cubicBezTo>
                  <a:close/>
                  <a:moveTo>
                    <a:pt x="57576" y="245356"/>
                  </a:moveTo>
                  <a:cubicBezTo>
                    <a:pt x="82463" y="245356"/>
                    <a:pt x="103636" y="261301"/>
                    <a:pt x="111716" y="283364"/>
                  </a:cubicBezTo>
                  <a:lnTo>
                    <a:pt x="160748" y="283364"/>
                  </a:lnTo>
                  <a:cubicBezTo>
                    <a:pt x="159819" y="289668"/>
                    <a:pt x="159355" y="296250"/>
                    <a:pt x="159355" y="302832"/>
                  </a:cubicBezTo>
                  <a:cubicBezTo>
                    <a:pt x="159355" y="309228"/>
                    <a:pt x="159726" y="315439"/>
                    <a:pt x="160562" y="321558"/>
                  </a:cubicBezTo>
                  <a:lnTo>
                    <a:pt x="111901" y="321558"/>
                  </a:lnTo>
                  <a:cubicBezTo>
                    <a:pt x="104101" y="344084"/>
                    <a:pt x="82835" y="360307"/>
                    <a:pt x="57576" y="360307"/>
                  </a:cubicBezTo>
                  <a:cubicBezTo>
                    <a:pt x="25723" y="360307"/>
                    <a:pt x="0" y="334536"/>
                    <a:pt x="0" y="302832"/>
                  </a:cubicBezTo>
                  <a:cubicBezTo>
                    <a:pt x="0" y="271035"/>
                    <a:pt x="25723" y="245356"/>
                    <a:pt x="57576" y="245356"/>
                  </a:cubicBezTo>
                  <a:close/>
                  <a:moveTo>
                    <a:pt x="303337" y="188762"/>
                  </a:moveTo>
                  <a:cubicBezTo>
                    <a:pt x="366286" y="188762"/>
                    <a:pt x="417536" y="239933"/>
                    <a:pt x="417536" y="302878"/>
                  </a:cubicBezTo>
                  <a:cubicBezTo>
                    <a:pt x="417536" y="365729"/>
                    <a:pt x="366286" y="416900"/>
                    <a:pt x="303337" y="416900"/>
                  </a:cubicBezTo>
                  <a:cubicBezTo>
                    <a:pt x="240295" y="416900"/>
                    <a:pt x="189045" y="365729"/>
                    <a:pt x="189045" y="302878"/>
                  </a:cubicBezTo>
                  <a:cubicBezTo>
                    <a:pt x="189045" y="239933"/>
                    <a:pt x="240295" y="188762"/>
                    <a:pt x="303337" y="188762"/>
                  </a:cubicBezTo>
                  <a:close/>
                  <a:moveTo>
                    <a:pt x="477064" y="108484"/>
                  </a:moveTo>
                  <a:cubicBezTo>
                    <a:pt x="471748" y="108484"/>
                    <a:pt x="466433" y="110523"/>
                    <a:pt x="462348" y="114602"/>
                  </a:cubicBezTo>
                  <a:cubicBezTo>
                    <a:pt x="454177" y="122760"/>
                    <a:pt x="454177" y="136016"/>
                    <a:pt x="462348" y="143988"/>
                  </a:cubicBezTo>
                  <a:cubicBezTo>
                    <a:pt x="470518" y="152145"/>
                    <a:pt x="483610" y="152145"/>
                    <a:pt x="491781" y="143988"/>
                  </a:cubicBezTo>
                  <a:cubicBezTo>
                    <a:pt x="499952" y="135830"/>
                    <a:pt x="499952" y="122760"/>
                    <a:pt x="491781" y="114602"/>
                  </a:cubicBezTo>
                  <a:cubicBezTo>
                    <a:pt x="487695" y="110523"/>
                    <a:pt x="482380" y="108484"/>
                    <a:pt x="477064" y="108484"/>
                  </a:cubicBezTo>
                  <a:close/>
                  <a:moveTo>
                    <a:pt x="129457" y="108484"/>
                  </a:moveTo>
                  <a:cubicBezTo>
                    <a:pt x="124142" y="108484"/>
                    <a:pt x="118828" y="110523"/>
                    <a:pt x="114743" y="114602"/>
                  </a:cubicBezTo>
                  <a:cubicBezTo>
                    <a:pt x="106666" y="122760"/>
                    <a:pt x="106666" y="136016"/>
                    <a:pt x="114743" y="143988"/>
                  </a:cubicBezTo>
                  <a:cubicBezTo>
                    <a:pt x="122912" y="152145"/>
                    <a:pt x="136002" y="152145"/>
                    <a:pt x="144172" y="143988"/>
                  </a:cubicBezTo>
                  <a:cubicBezTo>
                    <a:pt x="152341" y="135830"/>
                    <a:pt x="152341" y="122760"/>
                    <a:pt x="144172" y="114602"/>
                  </a:cubicBezTo>
                  <a:cubicBezTo>
                    <a:pt x="140087" y="110523"/>
                    <a:pt x="134772" y="108484"/>
                    <a:pt x="129457" y="108484"/>
                  </a:cubicBezTo>
                  <a:close/>
                  <a:moveTo>
                    <a:pt x="476937" y="71752"/>
                  </a:moveTo>
                  <a:cubicBezTo>
                    <a:pt x="491665" y="71752"/>
                    <a:pt x="506404" y="77383"/>
                    <a:pt x="517686" y="88646"/>
                  </a:cubicBezTo>
                  <a:cubicBezTo>
                    <a:pt x="540248" y="111172"/>
                    <a:pt x="540248" y="147510"/>
                    <a:pt x="517686" y="169944"/>
                  </a:cubicBezTo>
                  <a:cubicBezTo>
                    <a:pt x="499859" y="187742"/>
                    <a:pt x="473211" y="191357"/>
                    <a:pt x="451856" y="180975"/>
                  </a:cubicBezTo>
                  <a:lnTo>
                    <a:pt x="417409" y="215366"/>
                  </a:lnTo>
                  <a:cubicBezTo>
                    <a:pt x="409610" y="205169"/>
                    <a:pt x="400418" y="196177"/>
                    <a:pt x="390297" y="188391"/>
                  </a:cubicBezTo>
                  <a:lnTo>
                    <a:pt x="424930" y="153814"/>
                  </a:lnTo>
                  <a:cubicBezTo>
                    <a:pt x="414809" y="132400"/>
                    <a:pt x="418616" y="106166"/>
                    <a:pt x="436257" y="88646"/>
                  </a:cubicBezTo>
                  <a:cubicBezTo>
                    <a:pt x="447492" y="77383"/>
                    <a:pt x="462209" y="71752"/>
                    <a:pt x="476937" y="71752"/>
                  </a:cubicBezTo>
                  <a:close/>
                  <a:moveTo>
                    <a:pt x="129492" y="71752"/>
                  </a:moveTo>
                  <a:cubicBezTo>
                    <a:pt x="144218" y="71752"/>
                    <a:pt x="158933" y="77383"/>
                    <a:pt x="170166" y="88646"/>
                  </a:cubicBezTo>
                  <a:cubicBezTo>
                    <a:pt x="187897" y="106352"/>
                    <a:pt x="191611" y="132493"/>
                    <a:pt x="181584" y="153814"/>
                  </a:cubicBezTo>
                  <a:lnTo>
                    <a:pt x="216212" y="188391"/>
                  </a:lnTo>
                  <a:cubicBezTo>
                    <a:pt x="206093" y="196177"/>
                    <a:pt x="196902" y="205169"/>
                    <a:pt x="189104" y="215366"/>
                  </a:cubicBezTo>
                  <a:lnTo>
                    <a:pt x="154755" y="180975"/>
                  </a:lnTo>
                  <a:cubicBezTo>
                    <a:pt x="133217" y="191357"/>
                    <a:pt x="106666" y="187742"/>
                    <a:pt x="88749" y="169944"/>
                  </a:cubicBezTo>
                  <a:cubicBezTo>
                    <a:pt x="66190" y="147510"/>
                    <a:pt x="66190" y="111172"/>
                    <a:pt x="88749" y="88646"/>
                  </a:cubicBezTo>
                  <a:cubicBezTo>
                    <a:pt x="100029" y="77383"/>
                    <a:pt x="114766" y="71752"/>
                    <a:pt x="129492" y="71752"/>
                  </a:cubicBezTo>
                  <a:close/>
                  <a:moveTo>
                    <a:pt x="303325" y="36709"/>
                  </a:moveTo>
                  <a:cubicBezTo>
                    <a:pt x="291816" y="36709"/>
                    <a:pt x="282534" y="45980"/>
                    <a:pt x="282534" y="57475"/>
                  </a:cubicBezTo>
                  <a:cubicBezTo>
                    <a:pt x="282534" y="68970"/>
                    <a:pt x="291816" y="78240"/>
                    <a:pt x="303325" y="78240"/>
                  </a:cubicBezTo>
                  <a:cubicBezTo>
                    <a:pt x="314834" y="78240"/>
                    <a:pt x="324116" y="68970"/>
                    <a:pt x="324116" y="57475"/>
                  </a:cubicBezTo>
                  <a:cubicBezTo>
                    <a:pt x="324116" y="45980"/>
                    <a:pt x="314834" y="36709"/>
                    <a:pt x="303325" y="36709"/>
                  </a:cubicBezTo>
                  <a:close/>
                  <a:moveTo>
                    <a:pt x="303325" y="0"/>
                  </a:moveTo>
                  <a:cubicBezTo>
                    <a:pt x="335068" y="0"/>
                    <a:pt x="360871" y="25678"/>
                    <a:pt x="360871" y="57475"/>
                  </a:cubicBezTo>
                  <a:cubicBezTo>
                    <a:pt x="360871" y="82319"/>
                    <a:pt x="344907" y="103455"/>
                    <a:pt x="322724" y="111520"/>
                  </a:cubicBezTo>
                  <a:lnTo>
                    <a:pt x="322724" y="160466"/>
                  </a:lnTo>
                  <a:cubicBezTo>
                    <a:pt x="316412" y="159539"/>
                    <a:pt x="309822" y="159076"/>
                    <a:pt x="303325" y="159076"/>
                  </a:cubicBezTo>
                  <a:cubicBezTo>
                    <a:pt x="297014" y="159076"/>
                    <a:pt x="290702" y="159539"/>
                    <a:pt x="284483" y="160281"/>
                  </a:cubicBezTo>
                  <a:lnTo>
                    <a:pt x="284483" y="111705"/>
                  </a:lnTo>
                  <a:cubicBezTo>
                    <a:pt x="261929" y="103918"/>
                    <a:pt x="245779" y="82690"/>
                    <a:pt x="245779" y="57475"/>
                  </a:cubicBezTo>
                  <a:cubicBezTo>
                    <a:pt x="245779" y="25678"/>
                    <a:pt x="271489" y="0"/>
                    <a:pt x="303325" y="0"/>
                  </a:cubicBezTo>
                  <a:close/>
                </a:path>
              </a:pathLst>
            </a:custGeom>
            <a:solidFill>
              <a:srgbClr val="149CEA"/>
            </a:solidFill>
            <a:ln>
              <a:noFill/>
            </a:ln>
          </p:spPr>
        </p:sp>
      </p:grpSp>
      <p:grpSp>
        <p:nvGrpSpPr>
          <p:cNvPr id="9" name="组合 8"/>
          <p:cNvGrpSpPr/>
          <p:nvPr/>
        </p:nvGrpSpPr>
        <p:grpSpPr>
          <a:xfrm>
            <a:off x="660400" y="3584317"/>
            <a:ext cx="5913120" cy="2967386"/>
            <a:chOff x="833969" y="3503865"/>
            <a:chExt cx="4521637" cy="2967386"/>
          </a:xfrm>
        </p:grpSpPr>
        <p:sp>
          <p:nvSpPr>
            <p:cNvPr id="10" name="矩形 9"/>
            <p:cNvSpPr/>
            <p:nvPr/>
          </p:nvSpPr>
          <p:spPr>
            <a:xfrm>
              <a:off x="1589854" y="4040201"/>
              <a:ext cx="3765752" cy="2431050"/>
            </a:xfrm>
            <a:prstGeom prst="rect">
              <a:avLst/>
            </a:prstGeom>
            <a:noFill/>
          </p:spPr>
          <p:txBody>
            <a:bodyPr wrap="square" lIns="0" tIns="45720" rIns="91440" bIns="45720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次岗位锻炼我要转变自己的的思维方式，明确目标，真抓实干。重视与各部门领导的对接与协调，提升自己的综合素质和实践能力，了解系部整体运作，锻炼管理真本领、硬功夫，站在另外一个高度去看待问题，处理问题，尽快进入角色，保证新岗位的实践锻炼取得实际效果，真正在轮岗实践锻炼期间有所学、有所为、有所获。</a:t>
              </a:r>
              <a:endParaRPr lang="zh-CN" altLang="zh-CN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1589854" y="3503865"/>
              <a:ext cx="3765752" cy="494751"/>
            </a:xfrm>
            <a:prstGeom prst="rect">
              <a:avLst/>
            </a:prstGeom>
            <a:noFill/>
          </p:spPr>
          <p:txBody>
            <a:bodyPr wrap="square" lIns="0" tIns="45720" rIns="91440" bIns="45720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转</a:t>
              </a:r>
              <a:r>
                <a:rPr lang="zh-CN" altLang="en-US" sz="2400" b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变思维方式</a:t>
              </a:r>
              <a:endPara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" name="share_208915"/>
            <p:cNvSpPr>
              <a:spLocks noChangeAspect="1"/>
            </p:cNvSpPr>
            <p:nvPr/>
          </p:nvSpPr>
          <p:spPr bwMode="auto">
            <a:xfrm>
              <a:off x="833969" y="3628301"/>
              <a:ext cx="496891" cy="608829"/>
            </a:xfrm>
            <a:custGeom>
              <a:avLst/>
              <a:gdLst>
                <a:gd name="connsiteX0" fmla="*/ 587145 w 607614"/>
                <a:gd name="connsiteY0" fmla="*/ 586292 h 606761"/>
                <a:gd name="connsiteX1" fmla="*/ 607614 w 607614"/>
                <a:gd name="connsiteY1" fmla="*/ 586292 h 606761"/>
                <a:gd name="connsiteX2" fmla="*/ 607614 w 607614"/>
                <a:gd name="connsiteY2" fmla="*/ 606761 h 606761"/>
                <a:gd name="connsiteX3" fmla="*/ 587145 w 607614"/>
                <a:gd name="connsiteY3" fmla="*/ 606761 h 606761"/>
                <a:gd name="connsiteX4" fmla="*/ 546816 w 607614"/>
                <a:gd name="connsiteY4" fmla="*/ 586292 h 606761"/>
                <a:gd name="connsiteX5" fmla="*/ 567407 w 607614"/>
                <a:gd name="connsiteY5" fmla="*/ 586292 h 606761"/>
                <a:gd name="connsiteX6" fmla="*/ 567407 w 607614"/>
                <a:gd name="connsiteY6" fmla="*/ 606761 h 606761"/>
                <a:gd name="connsiteX7" fmla="*/ 546816 w 607614"/>
                <a:gd name="connsiteY7" fmla="*/ 606761 h 606761"/>
                <a:gd name="connsiteX8" fmla="*/ 506609 w 607614"/>
                <a:gd name="connsiteY8" fmla="*/ 586292 h 606761"/>
                <a:gd name="connsiteX9" fmla="*/ 526347 w 607614"/>
                <a:gd name="connsiteY9" fmla="*/ 586292 h 606761"/>
                <a:gd name="connsiteX10" fmla="*/ 526347 w 607614"/>
                <a:gd name="connsiteY10" fmla="*/ 606761 h 606761"/>
                <a:gd name="connsiteX11" fmla="*/ 506609 w 607614"/>
                <a:gd name="connsiteY11" fmla="*/ 606761 h 606761"/>
                <a:gd name="connsiteX12" fmla="*/ 465549 w 607614"/>
                <a:gd name="connsiteY12" fmla="*/ 586292 h 606761"/>
                <a:gd name="connsiteX13" fmla="*/ 486140 w 607614"/>
                <a:gd name="connsiteY13" fmla="*/ 586292 h 606761"/>
                <a:gd name="connsiteX14" fmla="*/ 486140 w 607614"/>
                <a:gd name="connsiteY14" fmla="*/ 606761 h 606761"/>
                <a:gd name="connsiteX15" fmla="*/ 465549 w 607614"/>
                <a:gd name="connsiteY15" fmla="*/ 606761 h 606761"/>
                <a:gd name="connsiteX16" fmla="*/ 293999 w 607614"/>
                <a:gd name="connsiteY16" fmla="*/ 586292 h 606761"/>
                <a:gd name="connsiteX17" fmla="*/ 313737 w 607614"/>
                <a:gd name="connsiteY17" fmla="*/ 586292 h 606761"/>
                <a:gd name="connsiteX18" fmla="*/ 313737 w 607614"/>
                <a:gd name="connsiteY18" fmla="*/ 606761 h 606761"/>
                <a:gd name="connsiteX19" fmla="*/ 293999 w 607614"/>
                <a:gd name="connsiteY19" fmla="*/ 606761 h 606761"/>
                <a:gd name="connsiteX20" fmla="*/ 121474 w 607614"/>
                <a:gd name="connsiteY20" fmla="*/ 586292 h 606761"/>
                <a:gd name="connsiteX21" fmla="*/ 142065 w 607614"/>
                <a:gd name="connsiteY21" fmla="*/ 586292 h 606761"/>
                <a:gd name="connsiteX22" fmla="*/ 142065 w 607614"/>
                <a:gd name="connsiteY22" fmla="*/ 606761 h 606761"/>
                <a:gd name="connsiteX23" fmla="*/ 121474 w 607614"/>
                <a:gd name="connsiteY23" fmla="*/ 606761 h 606761"/>
                <a:gd name="connsiteX24" fmla="*/ 81267 w 607614"/>
                <a:gd name="connsiteY24" fmla="*/ 586292 h 606761"/>
                <a:gd name="connsiteX25" fmla="*/ 101005 w 607614"/>
                <a:gd name="connsiteY25" fmla="*/ 586292 h 606761"/>
                <a:gd name="connsiteX26" fmla="*/ 101005 w 607614"/>
                <a:gd name="connsiteY26" fmla="*/ 606761 h 606761"/>
                <a:gd name="connsiteX27" fmla="*/ 81267 w 607614"/>
                <a:gd name="connsiteY27" fmla="*/ 606761 h 606761"/>
                <a:gd name="connsiteX28" fmla="*/ 40207 w 607614"/>
                <a:gd name="connsiteY28" fmla="*/ 586292 h 606761"/>
                <a:gd name="connsiteX29" fmla="*/ 60798 w 607614"/>
                <a:gd name="connsiteY29" fmla="*/ 586292 h 606761"/>
                <a:gd name="connsiteX30" fmla="*/ 60798 w 607614"/>
                <a:gd name="connsiteY30" fmla="*/ 606761 h 606761"/>
                <a:gd name="connsiteX31" fmla="*/ 40207 w 607614"/>
                <a:gd name="connsiteY31" fmla="*/ 606761 h 606761"/>
                <a:gd name="connsiteX32" fmla="*/ 0 w 607614"/>
                <a:gd name="connsiteY32" fmla="*/ 586292 h 606761"/>
                <a:gd name="connsiteX33" fmla="*/ 20469 w 607614"/>
                <a:gd name="connsiteY33" fmla="*/ 586292 h 606761"/>
                <a:gd name="connsiteX34" fmla="*/ 20469 w 607614"/>
                <a:gd name="connsiteY34" fmla="*/ 606761 h 606761"/>
                <a:gd name="connsiteX35" fmla="*/ 0 w 607614"/>
                <a:gd name="connsiteY35" fmla="*/ 606761 h 606761"/>
                <a:gd name="connsiteX36" fmla="*/ 546816 w 607614"/>
                <a:gd name="connsiteY36" fmla="*/ 546085 h 606761"/>
                <a:gd name="connsiteX37" fmla="*/ 567407 w 607614"/>
                <a:gd name="connsiteY37" fmla="*/ 546085 h 606761"/>
                <a:gd name="connsiteX38" fmla="*/ 567407 w 607614"/>
                <a:gd name="connsiteY38" fmla="*/ 566554 h 606761"/>
                <a:gd name="connsiteX39" fmla="*/ 546816 w 607614"/>
                <a:gd name="connsiteY39" fmla="*/ 566554 h 606761"/>
                <a:gd name="connsiteX40" fmla="*/ 506609 w 607614"/>
                <a:gd name="connsiteY40" fmla="*/ 546085 h 606761"/>
                <a:gd name="connsiteX41" fmla="*/ 526347 w 607614"/>
                <a:gd name="connsiteY41" fmla="*/ 546085 h 606761"/>
                <a:gd name="connsiteX42" fmla="*/ 526347 w 607614"/>
                <a:gd name="connsiteY42" fmla="*/ 566554 h 606761"/>
                <a:gd name="connsiteX43" fmla="*/ 506609 w 607614"/>
                <a:gd name="connsiteY43" fmla="*/ 566554 h 606761"/>
                <a:gd name="connsiteX44" fmla="*/ 465549 w 607614"/>
                <a:gd name="connsiteY44" fmla="*/ 546085 h 606761"/>
                <a:gd name="connsiteX45" fmla="*/ 486140 w 607614"/>
                <a:gd name="connsiteY45" fmla="*/ 546085 h 606761"/>
                <a:gd name="connsiteX46" fmla="*/ 486140 w 607614"/>
                <a:gd name="connsiteY46" fmla="*/ 566554 h 606761"/>
                <a:gd name="connsiteX47" fmla="*/ 465549 w 607614"/>
                <a:gd name="connsiteY47" fmla="*/ 566554 h 606761"/>
                <a:gd name="connsiteX48" fmla="*/ 293999 w 607614"/>
                <a:gd name="connsiteY48" fmla="*/ 546085 h 606761"/>
                <a:gd name="connsiteX49" fmla="*/ 313737 w 607614"/>
                <a:gd name="connsiteY49" fmla="*/ 546085 h 606761"/>
                <a:gd name="connsiteX50" fmla="*/ 313737 w 607614"/>
                <a:gd name="connsiteY50" fmla="*/ 566554 h 606761"/>
                <a:gd name="connsiteX51" fmla="*/ 293999 w 607614"/>
                <a:gd name="connsiteY51" fmla="*/ 566554 h 606761"/>
                <a:gd name="connsiteX52" fmla="*/ 121474 w 607614"/>
                <a:gd name="connsiteY52" fmla="*/ 546085 h 606761"/>
                <a:gd name="connsiteX53" fmla="*/ 142065 w 607614"/>
                <a:gd name="connsiteY53" fmla="*/ 546085 h 606761"/>
                <a:gd name="connsiteX54" fmla="*/ 142065 w 607614"/>
                <a:gd name="connsiteY54" fmla="*/ 566554 h 606761"/>
                <a:gd name="connsiteX55" fmla="*/ 121474 w 607614"/>
                <a:gd name="connsiteY55" fmla="*/ 566554 h 606761"/>
                <a:gd name="connsiteX56" fmla="*/ 81267 w 607614"/>
                <a:gd name="connsiteY56" fmla="*/ 546085 h 606761"/>
                <a:gd name="connsiteX57" fmla="*/ 101005 w 607614"/>
                <a:gd name="connsiteY57" fmla="*/ 546085 h 606761"/>
                <a:gd name="connsiteX58" fmla="*/ 101005 w 607614"/>
                <a:gd name="connsiteY58" fmla="*/ 566554 h 606761"/>
                <a:gd name="connsiteX59" fmla="*/ 81267 w 607614"/>
                <a:gd name="connsiteY59" fmla="*/ 566554 h 606761"/>
                <a:gd name="connsiteX60" fmla="*/ 40207 w 607614"/>
                <a:gd name="connsiteY60" fmla="*/ 546085 h 606761"/>
                <a:gd name="connsiteX61" fmla="*/ 60798 w 607614"/>
                <a:gd name="connsiteY61" fmla="*/ 546085 h 606761"/>
                <a:gd name="connsiteX62" fmla="*/ 60798 w 607614"/>
                <a:gd name="connsiteY62" fmla="*/ 566554 h 606761"/>
                <a:gd name="connsiteX63" fmla="*/ 40207 w 607614"/>
                <a:gd name="connsiteY63" fmla="*/ 566554 h 606761"/>
                <a:gd name="connsiteX64" fmla="*/ 354675 w 607614"/>
                <a:gd name="connsiteY64" fmla="*/ 536216 h 606761"/>
                <a:gd name="connsiteX65" fmla="*/ 374413 w 607614"/>
                <a:gd name="connsiteY65" fmla="*/ 536216 h 606761"/>
                <a:gd name="connsiteX66" fmla="*/ 374413 w 607614"/>
                <a:gd name="connsiteY66" fmla="*/ 606761 h 606761"/>
                <a:gd name="connsiteX67" fmla="*/ 354675 w 607614"/>
                <a:gd name="connsiteY67" fmla="*/ 606761 h 606761"/>
                <a:gd name="connsiteX68" fmla="*/ 233201 w 607614"/>
                <a:gd name="connsiteY68" fmla="*/ 536216 h 606761"/>
                <a:gd name="connsiteX69" fmla="*/ 252939 w 607614"/>
                <a:gd name="connsiteY69" fmla="*/ 536216 h 606761"/>
                <a:gd name="connsiteX70" fmla="*/ 252939 w 607614"/>
                <a:gd name="connsiteY70" fmla="*/ 606761 h 606761"/>
                <a:gd name="connsiteX71" fmla="*/ 233201 w 607614"/>
                <a:gd name="connsiteY71" fmla="*/ 606761 h 606761"/>
                <a:gd name="connsiteX72" fmla="*/ 506609 w 607614"/>
                <a:gd name="connsiteY72" fmla="*/ 505878 h 606761"/>
                <a:gd name="connsiteX73" fmla="*/ 526347 w 607614"/>
                <a:gd name="connsiteY73" fmla="*/ 505878 h 606761"/>
                <a:gd name="connsiteX74" fmla="*/ 526347 w 607614"/>
                <a:gd name="connsiteY74" fmla="*/ 525616 h 606761"/>
                <a:gd name="connsiteX75" fmla="*/ 506609 w 607614"/>
                <a:gd name="connsiteY75" fmla="*/ 525616 h 606761"/>
                <a:gd name="connsiteX76" fmla="*/ 465549 w 607614"/>
                <a:gd name="connsiteY76" fmla="*/ 505878 h 606761"/>
                <a:gd name="connsiteX77" fmla="*/ 486140 w 607614"/>
                <a:gd name="connsiteY77" fmla="*/ 505878 h 606761"/>
                <a:gd name="connsiteX78" fmla="*/ 486140 w 607614"/>
                <a:gd name="connsiteY78" fmla="*/ 525616 h 606761"/>
                <a:gd name="connsiteX79" fmla="*/ 465549 w 607614"/>
                <a:gd name="connsiteY79" fmla="*/ 525616 h 606761"/>
                <a:gd name="connsiteX80" fmla="*/ 121474 w 607614"/>
                <a:gd name="connsiteY80" fmla="*/ 505878 h 606761"/>
                <a:gd name="connsiteX81" fmla="*/ 142065 w 607614"/>
                <a:gd name="connsiteY81" fmla="*/ 505878 h 606761"/>
                <a:gd name="connsiteX82" fmla="*/ 142065 w 607614"/>
                <a:gd name="connsiteY82" fmla="*/ 525616 h 606761"/>
                <a:gd name="connsiteX83" fmla="*/ 121474 w 607614"/>
                <a:gd name="connsiteY83" fmla="*/ 525616 h 606761"/>
                <a:gd name="connsiteX84" fmla="*/ 81267 w 607614"/>
                <a:gd name="connsiteY84" fmla="*/ 505878 h 606761"/>
                <a:gd name="connsiteX85" fmla="*/ 101005 w 607614"/>
                <a:gd name="connsiteY85" fmla="*/ 505878 h 606761"/>
                <a:gd name="connsiteX86" fmla="*/ 101005 w 607614"/>
                <a:gd name="connsiteY86" fmla="*/ 525616 h 606761"/>
                <a:gd name="connsiteX87" fmla="*/ 81267 w 607614"/>
                <a:gd name="connsiteY87" fmla="*/ 525616 h 606761"/>
                <a:gd name="connsiteX88" fmla="*/ 465549 w 607614"/>
                <a:gd name="connsiteY88" fmla="*/ 464940 h 606761"/>
                <a:gd name="connsiteX89" fmla="*/ 486140 w 607614"/>
                <a:gd name="connsiteY89" fmla="*/ 464940 h 606761"/>
                <a:gd name="connsiteX90" fmla="*/ 486140 w 607614"/>
                <a:gd name="connsiteY90" fmla="*/ 485409 h 606761"/>
                <a:gd name="connsiteX91" fmla="*/ 465549 w 607614"/>
                <a:gd name="connsiteY91" fmla="*/ 485409 h 606761"/>
                <a:gd name="connsiteX92" fmla="*/ 121474 w 607614"/>
                <a:gd name="connsiteY92" fmla="*/ 464940 h 606761"/>
                <a:gd name="connsiteX93" fmla="*/ 142065 w 607614"/>
                <a:gd name="connsiteY93" fmla="*/ 464940 h 606761"/>
                <a:gd name="connsiteX94" fmla="*/ 142065 w 607614"/>
                <a:gd name="connsiteY94" fmla="*/ 485409 h 606761"/>
                <a:gd name="connsiteX95" fmla="*/ 121474 w 607614"/>
                <a:gd name="connsiteY95" fmla="*/ 485409 h 606761"/>
                <a:gd name="connsiteX96" fmla="*/ 288615 w 607614"/>
                <a:gd name="connsiteY96" fmla="*/ 455079 h 606761"/>
                <a:gd name="connsiteX97" fmla="*/ 304566 w 607614"/>
                <a:gd name="connsiteY97" fmla="*/ 497550 h 606761"/>
                <a:gd name="connsiteX98" fmla="*/ 321277 w 607614"/>
                <a:gd name="connsiteY98" fmla="*/ 455079 h 606761"/>
                <a:gd name="connsiteX99" fmla="*/ 252914 w 607614"/>
                <a:gd name="connsiteY99" fmla="*/ 434602 h 606761"/>
                <a:gd name="connsiteX100" fmla="*/ 354700 w 607614"/>
                <a:gd name="connsiteY100" fmla="*/ 434602 h 606761"/>
                <a:gd name="connsiteX101" fmla="*/ 425342 w 607614"/>
                <a:gd name="connsiteY101" fmla="*/ 505893 h 606761"/>
                <a:gd name="connsiteX102" fmla="*/ 425342 w 607614"/>
                <a:gd name="connsiteY102" fmla="*/ 606761 h 606761"/>
                <a:gd name="connsiteX103" fmla="*/ 404833 w 607614"/>
                <a:gd name="connsiteY103" fmla="*/ 606761 h 606761"/>
                <a:gd name="connsiteX104" fmla="*/ 404833 w 607614"/>
                <a:gd name="connsiteY104" fmla="*/ 505893 h 606761"/>
                <a:gd name="connsiteX105" fmla="*/ 354700 w 607614"/>
                <a:gd name="connsiteY105" fmla="*/ 455079 h 606761"/>
                <a:gd name="connsiteX106" fmla="*/ 343306 w 607614"/>
                <a:gd name="connsiteY106" fmla="*/ 455079 h 606761"/>
                <a:gd name="connsiteX107" fmla="*/ 315201 w 607614"/>
                <a:gd name="connsiteY107" fmla="*/ 530162 h 606761"/>
                <a:gd name="connsiteX108" fmla="*/ 303807 w 607614"/>
                <a:gd name="connsiteY108" fmla="*/ 536229 h 606761"/>
                <a:gd name="connsiteX109" fmla="*/ 294692 w 607614"/>
                <a:gd name="connsiteY109" fmla="*/ 530162 h 606761"/>
                <a:gd name="connsiteX110" fmla="*/ 266587 w 607614"/>
                <a:gd name="connsiteY110" fmla="*/ 455079 h 606761"/>
                <a:gd name="connsiteX111" fmla="*/ 252914 w 607614"/>
                <a:gd name="connsiteY111" fmla="*/ 455079 h 606761"/>
                <a:gd name="connsiteX112" fmla="*/ 202781 w 607614"/>
                <a:gd name="connsiteY112" fmla="*/ 505893 h 606761"/>
                <a:gd name="connsiteX113" fmla="*/ 202781 w 607614"/>
                <a:gd name="connsiteY113" fmla="*/ 606761 h 606761"/>
                <a:gd name="connsiteX114" fmla="*/ 182272 w 607614"/>
                <a:gd name="connsiteY114" fmla="*/ 606761 h 606761"/>
                <a:gd name="connsiteX115" fmla="*/ 182272 w 607614"/>
                <a:gd name="connsiteY115" fmla="*/ 505893 h 606761"/>
                <a:gd name="connsiteX116" fmla="*/ 252914 w 607614"/>
                <a:gd name="connsiteY116" fmla="*/ 434602 h 606761"/>
                <a:gd name="connsiteX117" fmla="*/ 293937 w 607614"/>
                <a:gd name="connsiteY117" fmla="*/ 313232 h 606761"/>
                <a:gd name="connsiteX118" fmla="*/ 263568 w 607614"/>
                <a:gd name="connsiteY118" fmla="*/ 343572 h 606761"/>
                <a:gd name="connsiteX119" fmla="*/ 263568 w 607614"/>
                <a:gd name="connsiteY119" fmla="*/ 373912 h 606761"/>
                <a:gd name="connsiteX120" fmla="*/ 293937 w 607614"/>
                <a:gd name="connsiteY120" fmla="*/ 404252 h 606761"/>
                <a:gd name="connsiteX121" fmla="*/ 313677 w 607614"/>
                <a:gd name="connsiteY121" fmla="*/ 404252 h 606761"/>
                <a:gd name="connsiteX122" fmla="*/ 344045 w 607614"/>
                <a:gd name="connsiteY122" fmla="*/ 373912 h 606761"/>
                <a:gd name="connsiteX123" fmla="*/ 344045 w 607614"/>
                <a:gd name="connsiteY123" fmla="*/ 343572 h 606761"/>
                <a:gd name="connsiteX124" fmla="*/ 313677 w 607614"/>
                <a:gd name="connsiteY124" fmla="*/ 313232 h 606761"/>
                <a:gd name="connsiteX125" fmla="*/ 151934 w 607614"/>
                <a:gd name="connsiteY125" fmla="*/ 303381 h 606761"/>
                <a:gd name="connsiteX126" fmla="*/ 182272 w 607614"/>
                <a:gd name="connsiteY126" fmla="*/ 303381 h 606761"/>
                <a:gd name="connsiteX127" fmla="*/ 182272 w 607614"/>
                <a:gd name="connsiteY127" fmla="*/ 323850 h 606761"/>
                <a:gd name="connsiteX128" fmla="*/ 151934 w 607614"/>
                <a:gd name="connsiteY128" fmla="*/ 323850 h 606761"/>
                <a:gd name="connsiteX129" fmla="*/ 101005 w 607614"/>
                <a:gd name="connsiteY129" fmla="*/ 303381 h 606761"/>
                <a:gd name="connsiteX130" fmla="*/ 131343 w 607614"/>
                <a:gd name="connsiteY130" fmla="*/ 303381 h 606761"/>
                <a:gd name="connsiteX131" fmla="*/ 131343 w 607614"/>
                <a:gd name="connsiteY131" fmla="*/ 323850 h 606761"/>
                <a:gd name="connsiteX132" fmla="*/ 101005 w 607614"/>
                <a:gd name="connsiteY132" fmla="*/ 323850 h 606761"/>
                <a:gd name="connsiteX133" fmla="*/ 50929 w 607614"/>
                <a:gd name="connsiteY133" fmla="*/ 303381 h 606761"/>
                <a:gd name="connsiteX134" fmla="*/ 81267 w 607614"/>
                <a:gd name="connsiteY134" fmla="*/ 303381 h 606761"/>
                <a:gd name="connsiteX135" fmla="*/ 81267 w 607614"/>
                <a:gd name="connsiteY135" fmla="*/ 323850 h 606761"/>
                <a:gd name="connsiteX136" fmla="*/ 50929 w 607614"/>
                <a:gd name="connsiteY136" fmla="*/ 323850 h 606761"/>
                <a:gd name="connsiteX137" fmla="*/ 293937 w 607614"/>
                <a:gd name="connsiteY137" fmla="*/ 293511 h 606761"/>
                <a:gd name="connsiteX138" fmla="*/ 313677 w 607614"/>
                <a:gd name="connsiteY138" fmla="*/ 293511 h 606761"/>
                <a:gd name="connsiteX139" fmla="*/ 364544 w 607614"/>
                <a:gd name="connsiteY139" fmla="*/ 343572 h 606761"/>
                <a:gd name="connsiteX140" fmla="*/ 364544 w 607614"/>
                <a:gd name="connsiteY140" fmla="*/ 373912 h 606761"/>
                <a:gd name="connsiteX141" fmla="*/ 313677 w 607614"/>
                <a:gd name="connsiteY141" fmla="*/ 424732 h 606761"/>
                <a:gd name="connsiteX142" fmla="*/ 293937 w 607614"/>
                <a:gd name="connsiteY142" fmla="*/ 424732 h 606761"/>
                <a:gd name="connsiteX143" fmla="*/ 243070 w 607614"/>
                <a:gd name="connsiteY143" fmla="*/ 373912 h 606761"/>
                <a:gd name="connsiteX144" fmla="*/ 243070 w 607614"/>
                <a:gd name="connsiteY144" fmla="*/ 343572 h 606761"/>
                <a:gd name="connsiteX145" fmla="*/ 293937 w 607614"/>
                <a:gd name="connsiteY145" fmla="*/ 293511 h 606761"/>
                <a:gd name="connsiteX146" fmla="*/ 516478 w 607614"/>
                <a:gd name="connsiteY146" fmla="*/ 273049 h 606761"/>
                <a:gd name="connsiteX147" fmla="*/ 495995 w 607614"/>
                <a:gd name="connsiteY147" fmla="*/ 293524 h 606761"/>
                <a:gd name="connsiteX148" fmla="*/ 516478 w 607614"/>
                <a:gd name="connsiteY148" fmla="*/ 313242 h 606761"/>
                <a:gd name="connsiteX149" fmla="*/ 536961 w 607614"/>
                <a:gd name="connsiteY149" fmla="*/ 293524 h 606761"/>
                <a:gd name="connsiteX150" fmla="*/ 516478 w 607614"/>
                <a:gd name="connsiteY150" fmla="*/ 273049 h 606761"/>
                <a:gd name="connsiteX151" fmla="*/ 202741 w 607614"/>
                <a:gd name="connsiteY151" fmla="*/ 263173 h 606761"/>
                <a:gd name="connsiteX152" fmla="*/ 233201 w 607614"/>
                <a:gd name="connsiteY152" fmla="*/ 263173 h 606761"/>
                <a:gd name="connsiteX153" fmla="*/ 233201 w 607614"/>
                <a:gd name="connsiteY153" fmla="*/ 282911 h 606761"/>
                <a:gd name="connsiteX154" fmla="*/ 202741 w 607614"/>
                <a:gd name="connsiteY154" fmla="*/ 282911 h 606761"/>
                <a:gd name="connsiteX155" fmla="*/ 151934 w 607614"/>
                <a:gd name="connsiteY155" fmla="*/ 263173 h 606761"/>
                <a:gd name="connsiteX156" fmla="*/ 182272 w 607614"/>
                <a:gd name="connsiteY156" fmla="*/ 263173 h 606761"/>
                <a:gd name="connsiteX157" fmla="*/ 182272 w 607614"/>
                <a:gd name="connsiteY157" fmla="*/ 282911 h 606761"/>
                <a:gd name="connsiteX158" fmla="*/ 151934 w 607614"/>
                <a:gd name="connsiteY158" fmla="*/ 282911 h 606761"/>
                <a:gd name="connsiteX159" fmla="*/ 101005 w 607614"/>
                <a:gd name="connsiteY159" fmla="*/ 263173 h 606761"/>
                <a:gd name="connsiteX160" fmla="*/ 131343 w 607614"/>
                <a:gd name="connsiteY160" fmla="*/ 263173 h 606761"/>
                <a:gd name="connsiteX161" fmla="*/ 131343 w 607614"/>
                <a:gd name="connsiteY161" fmla="*/ 282911 h 606761"/>
                <a:gd name="connsiteX162" fmla="*/ 101005 w 607614"/>
                <a:gd name="connsiteY162" fmla="*/ 282911 h 606761"/>
                <a:gd name="connsiteX163" fmla="*/ 50929 w 607614"/>
                <a:gd name="connsiteY163" fmla="*/ 263173 h 606761"/>
                <a:gd name="connsiteX164" fmla="*/ 81267 w 607614"/>
                <a:gd name="connsiteY164" fmla="*/ 263173 h 606761"/>
                <a:gd name="connsiteX165" fmla="*/ 81267 w 607614"/>
                <a:gd name="connsiteY165" fmla="*/ 282911 h 606761"/>
                <a:gd name="connsiteX166" fmla="*/ 50929 w 607614"/>
                <a:gd name="connsiteY166" fmla="*/ 282911 h 606761"/>
                <a:gd name="connsiteX167" fmla="*/ 516478 w 607614"/>
                <a:gd name="connsiteY167" fmla="*/ 252573 h 606761"/>
                <a:gd name="connsiteX168" fmla="*/ 556685 w 607614"/>
                <a:gd name="connsiteY168" fmla="*/ 293524 h 606761"/>
                <a:gd name="connsiteX169" fmla="*/ 516478 w 607614"/>
                <a:gd name="connsiteY169" fmla="*/ 333718 h 606761"/>
                <a:gd name="connsiteX170" fmla="*/ 476271 w 607614"/>
                <a:gd name="connsiteY170" fmla="*/ 293524 h 606761"/>
                <a:gd name="connsiteX171" fmla="*/ 516478 w 607614"/>
                <a:gd name="connsiteY171" fmla="*/ 252573 h 606761"/>
                <a:gd name="connsiteX172" fmla="*/ 445837 w 607614"/>
                <a:gd name="connsiteY172" fmla="*/ 232845 h 606761"/>
                <a:gd name="connsiteX173" fmla="*/ 445837 w 607614"/>
                <a:gd name="connsiteY173" fmla="*/ 354204 h 606761"/>
                <a:gd name="connsiteX174" fmla="*/ 587107 w 607614"/>
                <a:gd name="connsiteY174" fmla="*/ 354204 h 606761"/>
                <a:gd name="connsiteX175" fmla="*/ 587107 w 607614"/>
                <a:gd name="connsiteY175" fmla="*/ 232845 h 606761"/>
                <a:gd name="connsiteX176" fmla="*/ 9873 w 607614"/>
                <a:gd name="connsiteY176" fmla="*/ 212366 h 606761"/>
                <a:gd name="connsiteX177" fmla="*/ 597740 w 607614"/>
                <a:gd name="connsiteY177" fmla="*/ 212366 h 606761"/>
                <a:gd name="connsiteX178" fmla="*/ 607614 w 607614"/>
                <a:gd name="connsiteY178" fmla="*/ 222226 h 606761"/>
                <a:gd name="connsiteX179" fmla="*/ 607614 w 607614"/>
                <a:gd name="connsiteY179" fmla="*/ 364064 h 606761"/>
                <a:gd name="connsiteX180" fmla="*/ 597740 w 607614"/>
                <a:gd name="connsiteY180" fmla="*/ 373925 h 606761"/>
                <a:gd name="connsiteX181" fmla="*/ 394949 w 607614"/>
                <a:gd name="connsiteY181" fmla="*/ 373925 h 606761"/>
                <a:gd name="connsiteX182" fmla="*/ 394949 w 607614"/>
                <a:gd name="connsiteY182" fmla="*/ 354204 h 606761"/>
                <a:gd name="connsiteX183" fmla="*/ 425330 w 607614"/>
                <a:gd name="connsiteY183" fmla="*/ 354204 h 606761"/>
                <a:gd name="connsiteX184" fmla="*/ 425330 w 607614"/>
                <a:gd name="connsiteY184" fmla="*/ 232845 h 606761"/>
                <a:gd name="connsiteX185" fmla="*/ 20507 w 607614"/>
                <a:gd name="connsiteY185" fmla="*/ 232845 h 606761"/>
                <a:gd name="connsiteX186" fmla="*/ 20507 w 607614"/>
                <a:gd name="connsiteY186" fmla="*/ 354204 h 606761"/>
                <a:gd name="connsiteX187" fmla="*/ 212665 w 607614"/>
                <a:gd name="connsiteY187" fmla="*/ 354204 h 606761"/>
                <a:gd name="connsiteX188" fmla="*/ 212665 w 607614"/>
                <a:gd name="connsiteY188" fmla="*/ 373925 h 606761"/>
                <a:gd name="connsiteX189" fmla="*/ 9873 w 607614"/>
                <a:gd name="connsiteY189" fmla="*/ 373925 h 606761"/>
                <a:gd name="connsiteX190" fmla="*/ 0 w 607614"/>
                <a:gd name="connsiteY190" fmla="*/ 364064 h 606761"/>
                <a:gd name="connsiteX191" fmla="*/ 0 w 607614"/>
                <a:gd name="connsiteY191" fmla="*/ 222226 h 606761"/>
                <a:gd name="connsiteX192" fmla="*/ 9873 w 607614"/>
                <a:gd name="connsiteY192" fmla="*/ 212366 h 606761"/>
                <a:gd name="connsiteX193" fmla="*/ 455680 w 607614"/>
                <a:gd name="connsiteY193" fmla="*/ 81145 h 606761"/>
                <a:gd name="connsiteX194" fmla="*/ 496009 w 607614"/>
                <a:gd name="connsiteY194" fmla="*/ 81145 h 606761"/>
                <a:gd name="connsiteX195" fmla="*/ 496009 w 607614"/>
                <a:gd name="connsiteY195" fmla="*/ 100883 h 606761"/>
                <a:gd name="connsiteX196" fmla="*/ 455680 w 607614"/>
                <a:gd name="connsiteY196" fmla="*/ 100883 h 606761"/>
                <a:gd name="connsiteX197" fmla="*/ 364544 w 607614"/>
                <a:gd name="connsiteY197" fmla="*/ 81145 h 606761"/>
                <a:gd name="connsiteX198" fmla="*/ 435211 w 607614"/>
                <a:gd name="connsiteY198" fmla="*/ 81145 h 606761"/>
                <a:gd name="connsiteX199" fmla="*/ 435211 w 607614"/>
                <a:gd name="connsiteY199" fmla="*/ 100883 h 606761"/>
                <a:gd name="connsiteX200" fmla="*/ 364544 w 607614"/>
                <a:gd name="connsiteY200" fmla="*/ 100883 h 606761"/>
                <a:gd name="connsiteX201" fmla="*/ 192141 w 607614"/>
                <a:gd name="connsiteY201" fmla="*/ 81145 h 606761"/>
                <a:gd name="connsiteX202" fmla="*/ 233201 w 607614"/>
                <a:gd name="connsiteY202" fmla="*/ 81145 h 606761"/>
                <a:gd name="connsiteX203" fmla="*/ 233201 w 607614"/>
                <a:gd name="connsiteY203" fmla="*/ 100883 h 606761"/>
                <a:gd name="connsiteX204" fmla="*/ 192141 w 607614"/>
                <a:gd name="connsiteY204" fmla="*/ 100883 h 606761"/>
                <a:gd name="connsiteX205" fmla="*/ 101005 w 607614"/>
                <a:gd name="connsiteY205" fmla="*/ 81145 h 606761"/>
                <a:gd name="connsiteX206" fmla="*/ 172403 w 607614"/>
                <a:gd name="connsiteY206" fmla="*/ 81145 h 606761"/>
                <a:gd name="connsiteX207" fmla="*/ 172403 w 607614"/>
                <a:gd name="connsiteY207" fmla="*/ 100883 h 606761"/>
                <a:gd name="connsiteX208" fmla="*/ 101005 w 607614"/>
                <a:gd name="connsiteY208" fmla="*/ 100883 h 606761"/>
                <a:gd name="connsiteX209" fmla="*/ 455680 w 607614"/>
                <a:gd name="connsiteY209" fmla="*/ 40207 h 606761"/>
                <a:gd name="connsiteX210" fmla="*/ 496009 w 607614"/>
                <a:gd name="connsiteY210" fmla="*/ 40207 h 606761"/>
                <a:gd name="connsiteX211" fmla="*/ 496009 w 607614"/>
                <a:gd name="connsiteY211" fmla="*/ 60676 h 606761"/>
                <a:gd name="connsiteX212" fmla="*/ 455680 w 607614"/>
                <a:gd name="connsiteY212" fmla="*/ 60676 h 606761"/>
                <a:gd name="connsiteX213" fmla="*/ 364544 w 607614"/>
                <a:gd name="connsiteY213" fmla="*/ 40207 h 606761"/>
                <a:gd name="connsiteX214" fmla="*/ 435211 w 607614"/>
                <a:gd name="connsiteY214" fmla="*/ 40207 h 606761"/>
                <a:gd name="connsiteX215" fmla="*/ 435211 w 607614"/>
                <a:gd name="connsiteY215" fmla="*/ 60676 h 606761"/>
                <a:gd name="connsiteX216" fmla="*/ 364544 w 607614"/>
                <a:gd name="connsiteY216" fmla="*/ 60676 h 606761"/>
                <a:gd name="connsiteX217" fmla="*/ 192141 w 607614"/>
                <a:gd name="connsiteY217" fmla="*/ 40207 h 606761"/>
                <a:gd name="connsiteX218" fmla="*/ 233201 w 607614"/>
                <a:gd name="connsiteY218" fmla="*/ 40207 h 606761"/>
                <a:gd name="connsiteX219" fmla="*/ 233201 w 607614"/>
                <a:gd name="connsiteY219" fmla="*/ 60676 h 606761"/>
                <a:gd name="connsiteX220" fmla="*/ 192141 w 607614"/>
                <a:gd name="connsiteY220" fmla="*/ 60676 h 606761"/>
                <a:gd name="connsiteX221" fmla="*/ 101005 w 607614"/>
                <a:gd name="connsiteY221" fmla="*/ 40207 h 606761"/>
                <a:gd name="connsiteX222" fmla="*/ 172403 w 607614"/>
                <a:gd name="connsiteY222" fmla="*/ 40207 h 606761"/>
                <a:gd name="connsiteX223" fmla="*/ 172403 w 607614"/>
                <a:gd name="connsiteY223" fmla="*/ 60676 h 606761"/>
                <a:gd name="connsiteX224" fmla="*/ 101005 w 607614"/>
                <a:gd name="connsiteY224" fmla="*/ 60676 h 606761"/>
                <a:gd name="connsiteX225" fmla="*/ 344079 w 607614"/>
                <a:gd name="connsiteY225" fmla="*/ 20478 h 606761"/>
                <a:gd name="connsiteX226" fmla="*/ 344079 w 607614"/>
                <a:gd name="connsiteY226" fmla="*/ 152448 h 606761"/>
                <a:gd name="connsiteX227" fmla="*/ 388878 w 607614"/>
                <a:gd name="connsiteY227" fmla="*/ 122110 h 606761"/>
                <a:gd name="connsiteX228" fmla="*/ 394953 w 607614"/>
                <a:gd name="connsiteY228" fmla="*/ 120593 h 606761"/>
                <a:gd name="connsiteX229" fmla="*/ 526315 w 607614"/>
                <a:gd name="connsiteY229" fmla="*/ 120593 h 606761"/>
                <a:gd name="connsiteX230" fmla="*/ 526315 w 607614"/>
                <a:gd name="connsiteY230" fmla="*/ 20478 h 606761"/>
                <a:gd name="connsiteX231" fmla="*/ 81299 w 607614"/>
                <a:gd name="connsiteY231" fmla="*/ 20478 h 606761"/>
                <a:gd name="connsiteX232" fmla="*/ 81299 w 607614"/>
                <a:gd name="connsiteY232" fmla="*/ 121352 h 606761"/>
                <a:gd name="connsiteX233" fmla="*/ 212661 w 607614"/>
                <a:gd name="connsiteY233" fmla="*/ 121352 h 606761"/>
                <a:gd name="connsiteX234" fmla="*/ 218735 w 607614"/>
                <a:gd name="connsiteY234" fmla="*/ 123627 h 606761"/>
                <a:gd name="connsiteX235" fmla="*/ 263535 w 607614"/>
                <a:gd name="connsiteY235" fmla="*/ 153965 h 606761"/>
                <a:gd name="connsiteX236" fmla="*/ 263535 w 607614"/>
                <a:gd name="connsiteY236" fmla="*/ 20478 h 606761"/>
                <a:gd name="connsiteX237" fmla="*/ 334208 w 607614"/>
                <a:gd name="connsiteY237" fmla="*/ 0 h 606761"/>
                <a:gd name="connsiteX238" fmla="*/ 536945 w 607614"/>
                <a:gd name="connsiteY238" fmla="*/ 0 h 606761"/>
                <a:gd name="connsiteX239" fmla="*/ 546816 w 607614"/>
                <a:gd name="connsiteY239" fmla="*/ 9860 h 606761"/>
                <a:gd name="connsiteX240" fmla="*/ 546816 w 607614"/>
                <a:gd name="connsiteY240" fmla="*/ 131212 h 606761"/>
                <a:gd name="connsiteX241" fmla="*/ 536945 w 607614"/>
                <a:gd name="connsiteY241" fmla="*/ 141830 h 606761"/>
                <a:gd name="connsiteX242" fmla="*/ 397990 w 607614"/>
                <a:gd name="connsiteY242" fmla="*/ 141830 h 606761"/>
                <a:gd name="connsiteX243" fmla="*/ 340282 w 607614"/>
                <a:gd name="connsiteY243" fmla="*/ 179752 h 606761"/>
                <a:gd name="connsiteX244" fmla="*/ 334208 w 607614"/>
                <a:gd name="connsiteY244" fmla="*/ 182028 h 606761"/>
                <a:gd name="connsiteX245" fmla="*/ 328893 w 607614"/>
                <a:gd name="connsiteY245" fmla="*/ 181269 h 606761"/>
                <a:gd name="connsiteX246" fmla="*/ 324337 w 607614"/>
                <a:gd name="connsiteY246" fmla="*/ 172168 h 606761"/>
                <a:gd name="connsiteX247" fmla="*/ 324337 w 607614"/>
                <a:gd name="connsiteY247" fmla="*/ 9860 h 606761"/>
                <a:gd name="connsiteX248" fmla="*/ 334208 w 607614"/>
                <a:gd name="connsiteY248" fmla="*/ 0 h 606761"/>
                <a:gd name="connsiteX249" fmla="*/ 70669 w 607614"/>
                <a:gd name="connsiteY249" fmla="*/ 0 h 606761"/>
                <a:gd name="connsiteX250" fmla="*/ 273406 w 607614"/>
                <a:gd name="connsiteY250" fmla="*/ 0 h 606761"/>
                <a:gd name="connsiteX251" fmla="*/ 283277 w 607614"/>
                <a:gd name="connsiteY251" fmla="*/ 9860 h 606761"/>
                <a:gd name="connsiteX252" fmla="*/ 283277 w 607614"/>
                <a:gd name="connsiteY252" fmla="*/ 172168 h 606761"/>
                <a:gd name="connsiteX253" fmla="*/ 278721 w 607614"/>
                <a:gd name="connsiteY253" fmla="*/ 181269 h 606761"/>
                <a:gd name="connsiteX254" fmla="*/ 273406 w 607614"/>
                <a:gd name="connsiteY254" fmla="*/ 182028 h 606761"/>
                <a:gd name="connsiteX255" fmla="*/ 267331 w 607614"/>
                <a:gd name="connsiteY255" fmla="*/ 179752 h 606761"/>
                <a:gd name="connsiteX256" fmla="*/ 209623 w 607614"/>
                <a:gd name="connsiteY256" fmla="*/ 141830 h 606761"/>
                <a:gd name="connsiteX257" fmla="*/ 70669 w 607614"/>
                <a:gd name="connsiteY257" fmla="*/ 141830 h 606761"/>
                <a:gd name="connsiteX258" fmla="*/ 60798 w 607614"/>
                <a:gd name="connsiteY258" fmla="*/ 131212 h 606761"/>
                <a:gd name="connsiteX259" fmla="*/ 60798 w 607614"/>
                <a:gd name="connsiteY259" fmla="*/ 9860 h 606761"/>
                <a:gd name="connsiteX260" fmla="*/ 70669 w 607614"/>
                <a:gd name="connsiteY260" fmla="*/ 0 h 606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607614" h="606761">
                  <a:moveTo>
                    <a:pt x="587145" y="586292"/>
                  </a:moveTo>
                  <a:lnTo>
                    <a:pt x="607614" y="586292"/>
                  </a:lnTo>
                  <a:lnTo>
                    <a:pt x="607614" y="606761"/>
                  </a:lnTo>
                  <a:lnTo>
                    <a:pt x="587145" y="606761"/>
                  </a:lnTo>
                  <a:close/>
                  <a:moveTo>
                    <a:pt x="546816" y="586292"/>
                  </a:moveTo>
                  <a:lnTo>
                    <a:pt x="567407" y="586292"/>
                  </a:lnTo>
                  <a:lnTo>
                    <a:pt x="567407" y="606761"/>
                  </a:lnTo>
                  <a:lnTo>
                    <a:pt x="546816" y="606761"/>
                  </a:lnTo>
                  <a:close/>
                  <a:moveTo>
                    <a:pt x="506609" y="586292"/>
                  </a:moveTo>
                  <a:lnTo>
                    <a:pt x="526347" y="586292"/>
                  </a:lnTo>
                  <a:lnTo>
                    <a:pt x="526347" y="606761"/>
                  </a:lnTo>
                  <a:lnTo>
                    <a:pt x="506609" y="606761"/>
                  </a:lnTo>
                  <a:close/>
                  <a:moveTo>
                    <a:pt x="465549" y="586292"/>
                  </a:moveTo>
                  <a:lnTo>
                    <a:pt x="486140" y="586292"/>
                  </a:lnTo>
                  <a:lnTo>
                    <a:pt x="486140" y="606761"/>
                  </a:lnTo>
                  <a:lnTo>
                    <a:pt x="465549" y="606761"/>
                  </a:lnTo>
                  <a:close/>
                  <a:moveTo>
                    <a:pt x="293999" y="586292"/>
                  </a:moveTo>
                  <a:lnTo>
                    <a:pt x="313737" y="586292"/>
                  </a:lnTo>
                  <a:lnTo>
                    <a:pt x="313737" y="606761"/>
                  </a:lnTo>
                  <a:lnTo>
                    <a:pt x="293999" y="606761"/>
                  </a:lnTo>
                  <a:close/>
                  <a:moveTo>
                    <a:pt x="121474" y="586292"/>
                  </a:moveTo>
                  <a:lnTo>
                    <a:pt x="142065" y="586292"/>
                  </a:lnTo>
                  <a:lnTo>
                    <a:pt x="142065" y="606761"/>
                  </a:lnTo>
                  <a:lnTo>
                    <a:pt x="121474" y="606761"/>
                  </a:lnTo>
                  <a:close/>
                  <a:moveTo>
                    <a:pt x="81267" y="586292"/>
                  </a:moveTo>
                  <a:lnTo>
                    <a:pt x="101005" y="586292"/>
                  </a:lnTo>
                  <a:lnTo>
                    <a:pt x="101005" y="606761"/>
                  </a:lnTo>
                  <a:lnTo>
                    <a:pt x="81267" y="606761"/>
                  </a:lnTo>
                  <a:close/>
                  <a:moveTo>
                    <a:pt x="40207" y="586292"/>
                  </a:moveTo>
                  <a:lnTo>
                    <a:pt x="60798" y="586292"/>
                  </a:lnTo>
                  <a:lnTo>
                    <a:pt x="60798" y="606761"/>
                  </a:lnTo>
                  <a:lnTo>
                    <a:pt x="40207" y="606761"/>
                  </a:lnTo>
                  <a:close/>
                  <a:moveTo>
                    <a:pt x="0" y="586292"/>
                  </a:moveTo>
                  <a:lnTo>
                    <a:pt x="20469" y="586292"/>
                  </a:lnTo>
                  <a:lnTo>
                    <a:pt x="20469" y="606761"/>
                  </a:lnTo>
                  <a:lnTo>
                    <a:pt x="0" y="606761"/>
                  </a:lnTo>
                  <a:close/>
                  <a:moveTo>
                    <a:pt x="546816" y="546085"/>
                  </a:moveTo>
                  <a:lnTo>
                    <a:pt x="567407" y="546085"/>
                  </a:lnTo>
                  <a:lnTo>
                    <a:pt x="567407" y="566554"/>
                  </a:lnTo>
                  <a:lnTo>
                    <a:pt x="546816" y="566554"/>
                  </a:lnTo>
                  <a:close/>
                  <a:moveTo>
                    <a:pt x="506609" y="546085"/>
                  </a:moveTo>
                  <a:lnTo>
                    <a:pt x="526347" y="546085"/>
                  </a:lnTo>
                  <a:lnTo>
                    <a:pt x="526347" y="566554"/>
                  </a:lnTo>
                  <a:lnTo>
                    <a:pt x="506609" y="566554"/>
                  </a:lnTo>
                  <a:close/>
                  <a:moveTo>
                    <a:pt x="465549" y="546085"/>
                  </a:moveTo>
                  <a:lnTo>
                    <a:pt x="486140" y="546085"/>
                  </a:lnTo>
                  <a:lnTo>
                    <a:pt x="486140" y="566554"/>
                  </a:lnTo>
                  <a:lnTo>
                    <a:pt x="465549" y="566554"/>
                  </a:lnTo>
                  <a:close/>
                  <a:moveTo>
                    <a:pt x="293999" y="546085"/>
                  </a:moveTo>
                  <a:lnTo>
                    <a:pt x="313737" y="546085"/>
                  </a:lnTo>
                  <a:lnTo>
                    <a:pt x="313737" y="566554"/>
                  </a:lnTo>
                  <a:lnTo>
                    <a:pt x="293999" y="566554"/>
                  </a:lnTo>
                  <a:close/>
                  <a:moveTo>
                    <a:pt x="121474" y="546085"/>
                  </a:moveTo>
                  <a:lnTo>
                    <a:pt x="142065" y="546085"/>
                  </a:lnTo>
                  <a:lnTo>
                    <a:pt x="142065" y="566554"/>
                  </a:lnTo>
                  <a:lnTo>
                    <a:pt x="121474" y="566554"/>
                  </a:lnTo>
                  <a:close/>
                  <a:moveTo>
                    <a:pt x="81267" y="546085"/>
                  </a:moveTo>
                  <a:lnTo>
                    <a:pt x="101005" y="546085"/>
                  </a:lnTo>
                  <a:lnTo>
                    <a:pt x="101005" y="566554"/>
                  </a:lnTo>
                  <a:lnTo>
                    <a:pt x="81267" y="566554"/>
                  </a:lnTo>
                  <a:close/>
                  <a:moveTo>
                    <a:pt x="40207" y="546085"/>
                  </a:moveTo>
                  <a:lnTo>
                    <a:pt x="60798" y="546085"/>
                  </a:lnTo>
                  <a:lnTo>
                    <a:pt x="60798" y="566554"/>
                  </a:lnTo>
                  <a:lnTo>
                    <a:pt x="40207" y="566554"/>
                  </a:lnTo>
                  <a:close/>
                  <a:moveTo>
                    <a:pt x="354675" y="536216"/>
                  </a:moveTo>
                  <a:lnTo>
                    <a:pt x="374413" y="536216"/>
                  </a:lnTo>
                  <a:lnTo>
                    <a:pt x="374413" y="606761"/>
                  </a:lnTo>
                  <a:lnTo>
                    <a:pt x="354675" y="606761"/>
                  </a:lnTo>
                  <a:close/>
                  <a:moveTo>
                    <a:pt x="233201" y="536216"/>
                  </a:moveTo>
                  <a:lnTo>
                    <a:pt x="252939" y="536216"/>
                  </a:lnTo>
                  <a:lnTo>
                    <a:pt x="252939" y="606761"/>
                  </a:lnTo>
                  <a:lnTo>
                    <a:pt x="233201" y="606761"/>
                  </a:lnTo>
                  <a:close/>
                  <a:moveTo>
                    <a:pt x="506609" y="505878"/>
                  </a:moveTo>
                  <a:lnTo>
                    <a:pt x="526347" y="505878"/>
                  </a:lnTo>
                  <a:lnTo>
                    <a:pt x="526347" y="525616"/>
                  </a:lnTo>
                  <a:lnTo>
                    <a:pt x="506609" y="525616"/>
                  </a:lnTo>
                  <a:close/>
                  <a:moveTo>
                    <a:pt x="465549" y="505878"/>
                  </a:moveTo>
                  <a:lnTo>
                    <a:pt x="486140" y="505878"/>
                  </a:lnTo>
                  <a:lnTo>
                    <a:pt x="486140" y="525616"/>
                  </a:lnTo>
                  <a:lnTo>
                    <a:pt x="465549" y="525616"/>
                  </a:lnTo>
                  <a:close/>
                  <a:moveTo>
                    <a:pt x="121474" y="505878"/>
                  </a:moveTo>
                  <a:lnTo>
                    <a:pt x="142065" y="505878"/>
                  </a:lnTo>
                  <a:lnTo>
                    <a:pt x="142065" y="525616"/>
                  </a:lnTo>
                  <a:lnTo>
                    <a:pt x="121474" y="525616"/>
                  </a:lnTo>
                  <a:close/>
                  <a:moveTo>
                    <a:pt x="81267" y="505878"/>
                  </a:moveTo>
                  <a:lnTo>
                    <a:pt x="101005" y="505878"/>
                  </a:lnTo>
                  <a:lnTo>
                    <a:pt x="101005" y="525616"/>
                  </a:lnTo>
                  <a:lnTo>
                    <a:pt x="81267" y="525616"/>
                  </a:lnTo>
                  <a:close/>
                  <a:moveTo>
                    <a:pt x="465549" y="464940"/>
                  </a:moveTo>
                  <a:lnTo>
                    <a:pt x="486140" y="464940"/>
                  </a:lnTo>
                  <a:lnTo>
                    <a:pt x="486140" y="485409"/>
                  </a:lnTo>
                  <a:lnTo>
                    <a:pt x="465549" y="485409"/>
                  </a:lnTo>
                  <a:close/>
                  <a:moveTo>
                    <a:pt x="121474" y="464940"/>
                  </a:moveTo>
                  <a:lnTo>
                    <a:pt x="142065" y="464940"/>
                  </a:lnTo>
                  <a:lnTo>
                    <a:pt x="142065" y="485409"/>
                  </a:lnTo>
                  <a:lnTo>
                    <a:pt x="121474" y="485409"/>
                  </a:lnTo>
                  <a:close/>
                  <a:moveTo>
                    <a:pt x="288615" y="455079"/>
                  </a:moveTo>
                  <a:lnTo>
                    <a:pt x="304566" y="497550"/>
                  </a:lnTo>
                  <a:lnTo>
                    <a:pt x="321277" y="455079"/>
                  </a:lnTo>
                  <a:close/>
                  <a:moveTo>
                    <a:pt x="252914" y="434602"/>
                  </a:moveTo>
                  <a:lnTo>
                    <a:pt x="354700" y="434602"/>
                  </a:lnTo>
                  <a:cubicBezTo>
                    <a:pt x="394198" y="434602"/>
                    <a:pt x="425342" y="466455"/>
                    <a:pt x="425342" y="505893"/>
                  </a:cubicBezTo>
                  <a:lnTo>
                    <a:pt x="425342" y="606761"/>
                  </a:lnTo>
                  <a:lnTo>
                    <a:pt x="404833" y="606761"/>
                  </a:lnTo>
                  <a:lnTo>
                    <a:pt x="404833" y="505893"/>
                  </a:lnTo>
                  <a:cubicBezTo>
                    <a:pt x="404833" y="477073"/>
                    <a:pt x="382805" y="455079"/>
                    <a:pt x="354700" y="455079"/>
                  </a:cubicBezTo>
                  <a:lnTo>
                    <a:pt x="343306" y="455079"/>
                  </a:lnTo>
                  <a:lnTo>
                    <a:pt x="315201" y="530162"/>
                  </a:lnTo>
                  <a:cubicBezTo>
                    <a:pt x="312162" y="533196"/>
                    <a:pt x="307605" y="536229"/>
                    <a:pt x="303807" y="536229"/>
                  </a:cubicBezTo>
                  <a:cubicBezTo>
                    <a:pt x="300009" y="536229"/>
                    <a:pt x="295451" y="533196"/>
                    <a:pt x="294692" y="530162"/>
                  </a:cubicBezTo>
                  <a:lnTo>
                    <a:pt x="266587" y="455079"/>
                  </a:lnTo>
                  <a:lnTo>
                    <a:pt x="252914" y="455079"/>
                  </a:lnTo>
                  <a:cubicBezTo>
                    <a:pt x="224809" y="455079"/>
                    <a:pt x="202781" y="477073"/>
                    <a:pt x="202781" y="505893"/>
                  </a:cubicBezTo>
                  <a:lnTo>
                    <a:pt x="202781" y="606761"/>
                  </a:lnTo>
                  <a:lnTo>
                    <a:pt x="182272" y="606761"/>
                  </a:lnTo>
                  <a:lnTo>
                    <a:pt x="182272" y="505893"/>
                  </a:lnTo>
                  <a:cubicBezTo>
                    <a:pt x="182272" y="466455"/>
                    <a:pt x="213415" y="434602"/>
                    <a:pt x="252914" y="434602"/>
                  </a:cubicBezTo>
                  <a:close/>
                  <a:moveTo>
                    <a:pt x="293937" y="313232"/>
                  </a:moveTo>
                  <a:cubicBezTo>
                    <a:pt x="276475" y="313232"/>
                    <a:pt x="263568" y="326885"/>
                    <a:pt x="263568" y="343572"/>
                  </a:cubicBezTo>
                  <a:lnTo>
                    <a:pt x="263568" y="373912"/>
                  </a:lnTo>
                  <a:cubicBezTo>
                    <a:pt x="263568" y="391358"/>
                    <a:pt x="276475" y="404252"/>
                    <a:pt x="293937" y="404252"/>
                  </a:cubicBezTo>
                  <a:lnTo>
                    <a:pt x="313677" y="404252"/>
                  </a:lnTo>
                  <a:cubicBezTo>
                    <a:pt x="331138" y="404252"/>
                    <a:pt x="344045" y="391358"/>
                    <a:pt x="344045" y="373912"/>
                  </a:cubicBezTo>
                  <a:lnTo>
                    <a:pt x="344045" y="343572"/>
                  </a:lnTo>
                  <a:cubicBezTo>
                    <a:pt x="344045" y="326885"/>
                    <a:pt x="331138" y="313232"/>
                    <a:pt x="313677" y="313232"/>
                  </a:cubicBezTo>
                  <a:close/>
                  <a:moveTo>
                    <a:pt x="151934" y="303381"/>
                  </a:moveTo>
                  <a:lnTo>
                    <a:pt x="182272" y="303381"/>
                  </a:lnTo>
                  <a:lnTo>
                    <a:pt x="182272" y="323850"/>
                  </a:lnTo>
                  <a:lnTo>
                    <a:pt x="151934" y="323850"/>
                  </a:lnTo>
                  <a:close/>
                  <a:moveTo>
                    <a:pt x="101005" y="303381"/>
                  </a:moveTo>
                  <a:lnTo>
                    <a:pt x="131343" y="303381"/>
                  </a:lnTo>
                  <a:lnTo>
                    <a:pt x="131343" y="323850"/>
                  </a:lnTo>
                  <a:lnTo>
                    <a:pt x="101005" y="323850"/>
                  </a:lnTo>
                  <a:close/>
                  <a:moveTo>
                    <a:pt x="50929" y="303381"/>
                  </a:moveTo>
                  <a:lnTo>
                    <a:pt x="81267" y="303381"/>
                  </a:lnTo>
                  <a:lnTo>
                    <a:pt x="81267" y="323850"/>
                  </a:lnTo>
                  <a:lnTo>
                    <a:pt x="50929" y="323850"/>
                  </a:lnTo>
                  <a:close/>
                  <a:moveTo>
                    <a:pt x="293937" y="293511"/>
                  </a:moveTo>
                  <a:lnTo>
                    <a:pt x="313677" y="293511"/>
                  </a:lnTo>
                  <a:cubicBezTo>
                    <a:pt x="342527" y="293511"/>
                    <a:pt x="364544" y="315507"/>
                    <a:pt x="364544" y="343572"/>
                  </a:cubicBezTo>
                  <a:lnTo>
                    <a:pt x="364544" y="373912"/>
                  </a:lnTo>
                  <a:cubicBezTo>
                    <a:pt x="364544" y="402735"/>
                    <a:pt x="342527" y="424732"/>
                    <a:pt x="313677" y="424732"/>
                  </a:cubicBezTo>
                  <a:lnTo>
                    <a:pt x="293937" y="424732"/>
                  </a:lnTo>
                  <a:cubicBezTo>
                    <a:pt x="265087" y="424732"/>
                    <a:pt x="243070" y="402735"/>
                    <a:pt x="243070" y="373912"/>
                  </a:cubicBezTo>
                  <a:lnTo>
                    <a:pt x="243070" y="343572"/>
                  </a:lnTo>
                  <a:cubicBezTo>
                    <a:pt x="243070" y="315507"/>
                    <a:pt x="265087" y="293511"/>
                    <a:pt x="293937" y="293511"/>
                  </a:cubicBezTo>
                  <a:close/>
                  <a:moveTo>
                    <a:pt x="516478" y="273049"/>
                  </a:moveTo>
                  <a:cubicBezTo>
                    <a:pt x="505099" y="273049"/>
                    <a:pt x="495995" y="282149"/>
                    <a:pt x="495995" y="293524"/>
                  </a:cubicBezTo>
                  <a:cubicBezTo>
                    <a:pt x="495995" y="304142"/>
                    <a:pt x="505099" y="313242"/>
                    <a:pt x="516478" y="313242"/>
                  </a:cubicBezTo>
                  <a:cubicBezTo>
                    <a:pt x="527858" y="313242"/>
                    <a:pt x="536961" y="304142"/>
                    <a:pt x="536961" y="293524"/>
                  </a:cubicBezTo>
                  <a:cubicBezTo>
                    <a:pt x="536961" y="282149"/>
                    <a:pt x="527858" y="273049"/>
                    <a:pt x="516478" y="273049"/>
                  </a:cubicBezTo>
                  <a:close/>
                  <a:moveTo>
                    <a:pt x="202741" y="263173"/>
                  </a:moveTo>
                  <a:lnTo>
                    <a:pt x="233201" y="263173"/>
                  </a:lnTo>
                  <a:lnTo>
                    <a:pt x="233201" y="282911"/>
                  </a:lnTo>
                  <a:lnTo>
                    <a:pt x="202741" y="282911"/>
                  </a:lnTo>
                  <a:close/>
                  <a:moveTo>
                    <a:pt x="151934" y="263173"/>
                  </a:moveTo>
                  <a:lnTo>
                    <a:pt x="182272" y="263173"/>
                  </a:lnTo>
                  <a:lnTo>
                    <a:pt x="182272" y="282911"/>
                  </a:lnTo>
                  <a:lnTo>
                    <a:pt x="151934" y="282911"/>
                  </a:lnTo>
                  <a:close/>
                  <a:moveTo>
                    <a:pt x="101005" y="263173"/>
                  </a:moveTo>
                  <a:lnTo>
                    <a:pt x="131343" y="263173"/>
                  </a:lnTo>
                  <a:lnTo>
                    <a:pt x="131343" y="282911"/>
                  </a:lnTo>
                  <a:lnTo>
                    <a:pt x="101005" y="282911"/>
                  </a:lnTo>
                  <a:close/>
                  <a:moveTo>
                    <a:pt x="50929" y="263173"/>
                  </a:moveTo>
                  <a:lnTo>
                    <a:pt x="81267" y="263173"/>
                  </a:lnTo>
                  <a:lnTo>
                    <a:pt x="81267" y="282911"/>
                  </a:lnTo>
                  <a:lnTo>
                    <a:pt x="50929" y="282911"/>
                  </a:lnTo>
                  <a:close/>
                  <a:moveTo>
                    <a:pt x="516478" y="252573"/>
                  </a:moveTo>
                  <a:cubicBezTo>
                    <a:pt x="538478" y="252573"/>
                    <a:pt x="556685" y="270773"/>
                    <a:pt x="556685" y="293524"/>
                  </a:cubicBezTo>
                  <a:cubicBezTo>
                    <a:pt x="556685" y="315517"/>
                    <a:pt x="538478" y="333718"/>
                    <a:pt x="516478" y="333718"/>
                  </a:cubicBezTo>
                  <a:cubicBezTo>
                    <a:pt x="494478" y="333718"/>
                    <a:pt x="476271" y="315517"/>
                    <a:pt x="476271" y="293524"/>
                  </a:cubicBezTo>
                  <a:cubicBezTo>
                    <a:pt x="476271" y="270773"/>
                    <a:pt x="494478" y="252573"/>
                    <a:pt x="516478" y="252573"/>
                  </a:cubicBezTo>
                  <a:close/>
                  <a:moveTo>
                    <a:pt x="445837" y="232845"/>
                  </a:moveTo>
                  <a:lnTo>
                    <a:pt x="445837" y="354204"/>
                  </a:lnTo>
                  <a:lnTo>
                    <a:pt x="587107" y="354204"/>
                  </a:lnTo>
                  <a:lnTo>
                    <a:pt x="587107" y="232845"/>
                  </a:lnTo>
                  <a:close/>
                  <a:moveTo>
                    <a:pt x="9873" y="212366"/>
                  </a:moveTo>
                  <a:lnTo>
                    <a:pt x="597740" y="212366"/>
                  </a:lnTo>
                  <a:cubicBezTo>
                    <a:pt x="603817" y="212366"/>
                    <a:pt x="607614" y="216158"/>
                    <a:pt x="607614" y="222226"/>
                  </a:cubicBezTo>
                  <a:lnTo>
                    <a:pt x="607614" y="364064"/>
                  </a:lnTo>
                  <a:cubicBezTo>
                    <a:pt x="607614" y="370132"/>
                    <a:pt x="603817" y="373925"/>
                    <a:pt x="597740" y="373925"/>
                  </a:cubicBezTo>
                  <a:lnTo>
                    <a:pt x="394949" y="373925"/>
                  </a:lnTo>
                  <a:lnTo>
                    <a:pt x="394949" y="354204"/>
                  </a:lnTo>
                  <a:lnTo>
                    <a:pt x="425330" y="354204"/>
                  </a:lnTo>
                  <a:lnTo>
                    <a:pt x="425330" y="232845"/>
                  </a:lnTo>
                  <a:lnTo>
                    <a:pt x="20507" y="232845"/>
                  </a:lnTo>
                  <a:lnTo>
                    <a:pt x="20507" y="354204"/>
                  </a:lnTo>
                  <a:lnTo>
                    <a:pt x="212665" y="354204"/>
                  </a:lnTo>
                  <a:lnTo>
                    <a:pt x="212665" y="373925"/>
                  </a:lnTo>
                  <a:lnTo>
                    <a:pt x="9873" y="373925"/>
                  </a:lnTo>
                  <a:cubicBezTo>
                    <a:pt x="3797" y="373925"/>
                    <a:pt x="0" y="370132"/>
                    <a:pt x="0" y="364064"/>
                  </a:cubicBezTo>
                  <a:lnTo>
                    <a:pt x="0" y="222226"/>
                  </a:lnTo>
                  <a:cubicBezTo>
                    <a:pt x="0" y="216158"/>
                    <a:pt x="3797" y="212366"/>
                    <a:pt x="9873" y="212366"/>
                  </a:cubicBezTo>
                  <a:close/>
                  <a:moveTo>
                    <a:pt x="455680" y="81145"/>
                  </a:moveTo>
                  <a:lnTo>
                    <a:pt x="496009" y="81145"/>
                  </a:lnTo>
                  <a:lnTo>
                    <a:pt x="496009" y="100883"/>
                  </a:lnTo>
                  <a:lnTo>
                    <a:pt x="455680" y="100883"/>
                  </a:lnTo>
                  <a:close/>
                  <a:moveTo>
                    <a:pt x="364544" y="81145"/>
                  </a:moveTo>
                  <a:lnTo>
                    <a:pt x="435211" y="81145"/>
                  </a:lnTo>
                  <a:lnTo>
                    <a:pt x="435211" y="100883"/>
                  </a:lnTo>
                  <a:lnTo>
                    <a:pt x="364544" y="100883"/>
                  </a:lnTo>
                  <a:close/>
                  <a:moveTo>
                    <a:pt x="192141" y="81145"/>
                  </a:moveTo>
                  <a:lnTo>
                    <a:pt x="233201" y="81145"/>
                  </a:lnTo>
                  <a:lnTo>
                    <a:pt x="233201" y="100883"/>
                  </a:lnTo>
                  <a:lnTo>
                    <a:pt x="192141" y="100883"/>
                  </a:lnTo>
                  <a:close/>
                  <a:moveTo>
                    <a:pt x="101005" y="81145"/>
                  </a:moveTo>
                  <a:lnTo>
                    <a:pt x="172403" y="81145"/>
                  </a:lnTo>
                  <a:lnTo>
                    <a:pt x="172403" y="100883"/>
                  </a:lnTo>
                  <a:lnTo>
                    <a:pt x="101005" y="100883"/>
                  </a:lnTo>
                  <a:close/>
                  <a:moveTo>
                    <a:pt x="455680" y="40207"/>
                  </a:moveTo>
                  <a:lnTo>
                    <a:pt x="496009" y="40207"/>
                  </a:lnTo>
                  <a:lnTo>
                    <a:pt x="496009" y="60676"/>
                  </a:lnTo>
                  <a:lnTo>
                    <a:pt x="455680" y="60676"/>
                  </a:lnTo>
                  <a:close/>
                  <a:moveTo>
                    <a:pt x="364544" y="40207"/>
                  </a:moveTo>
                  <a:lnTo>
                    <a:pt x="435211" y="40207"/>
                  </a:lnTo>
                  <a:lnTo>
                    <a:pt x="435211" y="60676"/>
                  </a:lnTo>
                  <a:lnTo>
                    <a:pt x="364544" y="60676"/>
                  </a:lnTo>
                  <a:close/>
                  <a:moveTo>
                    <a:pt x="192141" y="40207"/>
                  </a:moveTo>
                  <a:lnTo>
                    <a:pt x="233201" y="40207"/>
                  </a:lnTo>
                  <a:lnTo>
                    <a:pt x="233201" y="60676"/>
                  </a:lnTo>
                  <a:lnTo>
                    <a:pt x="192141" y="60676"/>
                  </a:lnTo>
                  <a:close/>
                  <a:moveTo>
                    <a:pt x="101005" y="40207"/>
                  </a:moveTo>
                  <a:lnTo>
                    <a:pt x="172403" y="40207"/>
                  </a:lnTo>
                  <a:lnTo>
                    <a:pt x="172403" y="60676"/>
                  </a:lnTo>
                  <a:lnTo>
                    <a:pt x="101005" y="60676"/>
                  </a:lnTo>
                  <a:close/>
                  <a:moveTo>
                    <a:pt x="344079" y="20478"/>
                  </a:moveTo>
                  <a:lnTo>
                    <a:pt x="344079" y="152448"/>
                  </a:lnTo>
                  <a:lnTo>
                    <a:pt x="388878" y="122110"/>
                  </a:lnTo>
                  <a:cubicBezTo>
                    <a:pt x="391156" y="121352"/>
                    <a:pt x="392675" y="120593"/>
                    <a:pt x="394953" y="120593"/>
                  </a:cubicBezTo>
                  <a:lnTo>
                    <a:pt x="526315" y="120593"/>
                  </a:lnTo>
                  <a:lnTo>
                    <a:pt x="526315" y="20478"/>
                  </a:lnTo>
                  <a:close/>
                  <a:moveTo>
                    <a:pt x="81299" y="20478"/>
                  </a:moveTo>
                  <a:lnTo>
                    <a:pt x="81299" y="121352"/>
                  </a:lnTo>
                  <a:lnTo>
                    <a:pt x="212661" y="121352"/>
                  </a:lnTo>
                  <a:cubicBezTo>
                    <a:pt x="214938" y="121352"/>
                    <a:pt x="216457" y="122110"/>
                    <a:pt x="218735" y="123627"/>
                  </a:cubicBezTo>
                  <a:lnTo>
                    <a:pt x="263535" y="153965"/>
                  </a:lnTo>
                  <a:lnTo>
                    <a:pt x="263535" y="20478"/>
                  </a:lnTo>
                  <a:close/>
                  <a:moveTo>
                    <a:pt x="334208" y="0"/>
                  </a:moveTo>
                  <a:lnTo>
                    <a:pt x="536945" y="0"/>
                  </a:lnTo>
                  <a:cubicBezTo>
                    <a:pt x="543020" y="0"/>
                    <a:pt x="546816" y="3792"/>
                    <a:pt x="546816" y="9860"/>
                  </a:cubicBezTo>
                  <a:lnTo>
                    <a:pt x="546816" y="131212"/>
                  </a:lnTo>
                  <a:cubicBezTo>
                    <a:pt x="546816" y="137279"/>
                    <a:pt x="543020" y="141830"/>
                    <a:pt x="536945" y="141830"/>
                  </a:cubicBezTo>
                  <a:lnTo>
                    <a:pt x="397990" y="141830"/>
                  </a:lnTo>
                  <a:lnTo>
                    <a:pt x="340282" y="179752"/>
                  </a:lnTo>
                  <a:cubicBezTo>
                    <a:pt x="338004" y="181269"/>
                    <a:pt x="336486" y="182028"/>
                    <a:pt x="334208" y="182028"/>
                  </a:cubicBezTo>
                  <a:cubicBezTo>
                    <a:pt x="331930" y="182028"/>
                    <a:pt x="331171" y="182028"/>
                    <a:pt x="328893" y="181269"/>
                  </a:cubicBezTo>
                  <a:cubicBezTo>
                    <a:pt x="325855" y="178994"/>
                    <a:pt x="324337" y="175960"/>
                    <a:pt x="324337" y="172168"/>
                  </a:cubicBezTo>
                  <a:lnTo>
                    <a:pt x="324337" y="9860"/>
                  </a:lnTo>
                  <a:cubicBezTo>
                    <a:pt x="324337" y="3792"/>
                    <a:pt x="328133" y="0"/>
                    <a:pt x="334208" y="0"/>
                  </a:cubicBezTo>
                  <a:close/>
                  <a:moveTo>
                    <a:pt x="70669" y="0"/>
                  </a:moveTo>
                  <a:lnTo>
                    <a:pt x="273406" y="0"/>
                  </a:lnTo>
                  <a:cubicBezTo>
                    <a:pt x="279480" y="0"/>
                    <a:pt x="283277" y="3792"/>
                    <a:pt x="283277" y="9860"/>
                  </a:cubicBezTo>
                  <a:lnTo>
                    <a:pt x="283277" y="172168"/>
                  </a:lnTo>
                  <a:cubicBezTo>
                    <a:pt x="283277" y="175960"/>
                    <a:pt x="281758" y="178994"/>
                    <a:pt x="278721" y="181269"/>
                  </a:cubicBezTo>
                  <a:cubicBezTo>
                    <a:pt x="276443" y="182028"/>
                    <a:pt x="275684" y="182028"/>
                    <a:pt x="273406" y="182028"/>
                  </a:cubicBezTo>
                  <a:cubicBezTo>
                    <a:pt x="271128" y="182028"/>
                    <a:pt x="269609" y="181269"/>
                    <a:pt x="267331" y="179752"/>
                  </a:cubicBezTo>
                  <a:lnTo>
                    <a:pt x="209623" y="141830"/>
                  </a:lnTo>
                  <a:lnTo>
                    <a:pt x="70669" y="141830"/>
                  </a:lnTo>
                  <a:cubicBezTo>
                    <a:pt x="64594" y="141830"/>
                    <a:pt x="60798" y="137279"/>
                    <a:pt x="60798" y="131212"/>
                  </a:cubicBezTo>
                  <a:lnTo>
                    <a:pt x="60798" y="9860"/>
                  </a:lnTo>
                  <a:cubicBezTo>
                    <a:pt x="60798" y="3792"/>
                    <a:pt x="64594" y="0"/>
                    <a:pt x="70669" y="0"/>
                  </a:cubicBezTo>
                  <a:close/>
                </a:path>
              </a:pathLst>
            </a:custGeom>
            <a:solidFill>
              <a:srgbClr val="149CEA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" name="矩形 12"/>
          <p:cNvSpPr/>
          <p:nvPr/>
        </p:nvSpPr>
        <p:spPr>
          <a:xfrm>
            <a:off x="12192000" y="-984418"/>
            <a:ext cx="6096000" cy="5909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endParaRPr lang="zh-CN" altLang="zh-CN" sz="160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zh-CN" sz="160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58272" y="1581157"/>
            <a:ext cx="6096000" cy="304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积极参与系部管理工作，协调好工作与生活的关系</a:t>
            </a:r>
            <a:endParaRPr lang="en-US" altLang="zh-CN" b="1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zh-CN" altLang="en-US" smtClean="0">
                <a:sym typeface="+mn-lt"/>
              </a:rPr>
              <a:t>最后</a:t>
            </a:r>
            <a:r>
              <a:rPr lang="en-US" altLang="zh-CN" smtClean="0">
                <a:sym typeface="+mn-lt"/>
              </a:rPr>
              <a:t>……</a:t>
            </a:r>
            <a:endParaRPr lang="zh-CN" altLang="zh-CN"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8036170" y="3098319"/>
            <a:ext cx="3482730" cy="232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诚的感谢院领导为我提供的这次轮岗实践锻炼机会，我将不负所托，不忘初心，牢记使命，为学院培养高技能人才，打造大国工匠的宏伟目标贡献自己的绵薄之力，用自己的青春和汗水为学院的发展增添亮丽的一笔。</a:t>
            </a:r>
            <a:endParaRPr lang="zh-CN" altLang="zh-CN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036170" y="2402508"/>
            <a:ext cx="3482730" cy="4732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不忘初心，牢记使命</a:t>
            </a:r>
            <a:endParaRPr lang="zh-CN" altLang="zh-CN" sz="2800" b="1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/>
          <p:nvPr/>
        </p:nvGrpSpPr>
        <p:grpSpPr>
          <a:xfrm>
            <a:off x="0" y="1313377"/>
            <a:ext cx="6986954" cy="5015714"/>
            <a:chOff x="3057525" y="1250950"/>
            <a:chExt cx="6076950" cy="4362451"/>
          </a:xfrm>
        </p:grpSpPr>
        <p:sp>
          <p:nvSpPr>
            <p:cNvPr id="12" name="iṡļîďê"/>
            <p:cNvSpPr/>
            <p:nvPr/>
          </p:nvSpPr>
          <p:spPr bwMode="auto">
            <a:xfrm>
              <a:off x="7643813" y="2351088"/>
              <a:ext cx="1085850" cy="701675"/>
            </a:xfrm>
            <a:custGeom>
              <a:avLst/>
              <a:gdLst>
                <a:gd name="T0" fmla="*/ 240 w 284"/>
                <a:gd name="T1" fmla="*/ 64 h 184"/>
                <a:gd name="T2" fmla="*/ 240 w 284"/>
                <a:gd name="T3" fmla="*/ 61 h 184"/>
                <a:gd name="T4" fmla="*/ 179 w 284"/>
                <a:gd name="T5" fmla="*/ 0 h 184"/>
                <a:gd name="T6" fmla="*/ 123 w 284"/>
                <a:gd name="T7" fmla="*/ 35 h 184"/>
                <a:gd name="T8" fmla="*/ 85 w 284"/>
                <a:gd name="T9" fmla="*/ 22 h 184"/>
                <a:gd name="T10" fmla="*/ 25 w 284"/>
                <a:gd name="T11" fmla="*/ 74 h 184"/>
                <a:gd name="T12" fmla="*/ 0 w 284"/>
                <a:gd name="T13" fmla="*/ 123 h 184"/>
                <a:gd name="T14" fmla="*/ 61 w 284"/>
                <a:gd name="T15" fmla="*/ 184 h 184"/>
                <a:gd name="T16" fmla="*/ 223 w 284"/>
                <a:gd name="T17" fmla="*/ 184 h 184"/>
                <a:gd name="T18" fmla="*/ 284 w 284"/>
                <a:gd name="T19" fmla="*/ 123 h 184"/>
                <a:gd name="T20" fmla="*/ 240 w 284"/>
                <a:gd name="T21" fmla="*/ 6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84">
                  <a:moveTo>
                    <a:pt x="240" y="64"/>
                  </a:moveTo>
                  <a:cubicBezTo>
                    <a:pt x="240" y="63"/>
                    <a:pt x="240" y="62"/>
                    <a:pt x="240" y="61"/>
                  </a:cubicBezTo>
                  <a:cubicBezTo>
                    <a:pt x="240" y="28"/>
                    <a:pt x="212" y="0"/>
                    <a:pt x="179" y="0"/>
                  </a:cubicBezTo>
                  <a:cubicBezTo>
                    <a:pt x="154" y="0"/>
                    <a:pt x="133" y="15"/>
                    <a:pt x="123" y="35"/>
                  </a:cubicBezTo>
                  <a:cubicBezTo>
                    <a:pt x="113" y="27"/>
                    <a:pt x="100" y="22"/>
                    <a:pt x="85" y="22"/>
                  </a:cubicBezTo>
                  <a:cubicBezTo>
                    <a:pt x="54" y="22"/>
                    <a:pt x="29" y="44"/>
                    <a:pt x="25" y="74"/>
                  </a:cubicBezTo>
                  <a:cubicBezTo>
                    <a:pt x="10" y="85"/>
                    <a:pt x="0" y="103"/>
                    <a:pt x="0" y="123"/>
                  </a:cubicBezTo>
                  <a:cubicBezTo>
                    <a:pt x="0" y="156"/>
                    <a:pt x="27" y="184"/>
                    <a:pt x="61" y="184"/>
                  </a:cubicBezTo>
                  <a:cubicBezTo>
                    <a:pt x="78" y="184"/>
                    <a:pt x="208" y="184"/>
                    <a:pt x="223" y="184"/>
                  </a:cubicBezTo>
                  <a:cubicBezTo>
                    <a:pt x="256" y="184"/>
                    <a:pt x="284" y="156"/>
                    <a:pt x="284" y="123"/>
                  </a:cubicBezTo>
                  <a:cubicBezTo>
                    <a:pt x="284" y="95"/>
                    <a:pt x="265" y="71"/>
                    <a:pt x="240" y="6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92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i$ḷiďè"/>
            <p:cNvSpPr/>
            <p:nvPr/>
          </p:nvSpPr>
          <p:spPr bwMode="auto">
            <a:xfrm>
              <a:off x="5616575" y="1277938"/>
              <a:ext cx="1084263" cy="703263"/>
            </a:xfrm>
            <a:custGeom>
              <a:avLst/>
              <a:gdLst>
                <a:gd name="T0" fmla="*/ 240 w 284"/>
                <a:gd name="T1" fmla="*/ 64 h 184"/>
                <a:gd name="T2" fmla="*/ 240 w 284"/>
                <a:gd name="T3" fmla="*/ 62 h 184"/>
                <a:gd name="T4" fmla="*/ 179 w 284"/>
                <a:gd name="T5" fmla="*/ 0 h 184"/>
                <a:gd name="T6" fmla="*/ 123 w 284"/>
                <a:gd name="T7" fmla="*/ 36 h 184"/>
                <a:gd name="T8" fmla="*/ 85 w 284"/>
                <a:gd name="T9" fmla="*/ 22 h 184"/>
                <a:gd name="T10" fmla="*/ 25 w 284"/>
                <a:gd name="T11" fmla="*/ 74 h 184"/>
                <a:gd name="T12" fmla="*/ 0 w 284"/>
                <a:gd name="T13" fmla="*/ 123 h 184"/>
                <a:gd name="T14" fmla="*/ 61 w 284"/>
                <a:gd name="T15" fmla="*/ 184 h 184"/>
                <a:gd name="T16" fmla="*/ 222 w 284"/>
                <a:gd name="T17" fmla="*/ 184 h 184"/>
                <a:gd name="T18" fmla="*/ 284 w 284"/>
                <a:gd name="T19" fmla="*/ 123 h 184"/>
                <a:gd name="T20" fmla="*/ 240 w 284"/>
                <a:gd name="T21" fmla="*/ 6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84">
                  <a:moveTo>
                    <a:pt x="240" y="64"/>
                  </a:moveTo>
                  <a:cubicBezTo>
                    <a:pt x="240" y="63"/>
                    <a:pt x="240" y="62"/>
                    <a:pt x="240" y="62"/>
                  </a:cubicBezTo>
                  <a:cubicBezTo>
                    <a:pt x="240" y="28"/>
                    <a:pt x="212" y="0"/>
                    <a:pt x="179" y="0"/>
                  </a:cubicBezTo>
                  <a:cubicBezTo>
                    <a:pt x="154" y="0"/>
                    <a:pt x="133" y="15"/>
                    <a:pt x="123" y="36"/>
                  </a:cubicBezTo>
                  <a:cubicBezTo>
                    <a:pt x="113" y="27"/>
                    <a:pt x="99" y="22"/>
                    <a:pt x="85" y="22"/>
                  </a:cubicBezTo>
                  <a:cubicBezTo>
                    <a:pt x="54" y="22"/>
                    <a:pt x="29" y="44"/>
                    <a:pt x="25" y="74"/>
                  </a:cubicBezTo>
                  <a:cubicBezTo>
                    <a:pt x="10" y="85"/>
                    <a:pt x="0" y="103"/>
                    <a:pt x="0" y="123"/>
                  </a:cubicBezTo>
                  <a:cubicBezTo>
                    <a:pt x="0" y="157"/>
                    <a:pt x="27" y="184"/>
                    <a:pt x="61" y="184"/>
                  </a:cubicBezTo>
                  <a:cubicBezTo>
                    <a:pt x="78" y="184"/>
                    <a:pt x="208" y="184"/>
                    <a:pt x="222" y="184"/>
                  </a:cubicBezTo>
                  <a:cubicBezTo>
                    <a:pt x="256" y="184"/>
                    <a:pt x="284" y="157"/>
                    <a:pt x="284" y="123"/>
                  </a:cubicBezTo>
                  <a:cubicBezTo>
                    <a:pt x="284" y="95"/>
                    <a:pt x="265" y="72"/>
                    <a:pt x="240" y="6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92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îṧliḓé"/>
            <p:cNvSpPr/>
            <p:nvPr/>
          </p:nvSpPr>
          <p:spPr bwMode="auto">
            <a:xfrm>
              <a:off x="5795963" y="4332288"/>
              <a:ext cx="171450" cy="79375"/>
            </a:xfrm>
            <a:custGeom>
              <a:avLst/>
              <a:gdLst>
                <a:gd name="T0" fmla="*/ 108 w 108"/>
                <a:gd name="T1" fmla="*/ 0 h 50"/>
                <a:gd name="T2" fmla="*/ 70 w 108"/>
                <a:gd name="T3" fmla="*/ 0 h 50"/>
                <a:gd name="T4" fmla="*/ 70 w 108"/>
                <a:gd name="T5" fmla="*/ 12 h 50"/>
                <a:gd name="T6" fmla="*/ 0 w 108"/>
                <a:gd name="T7" fmla="*/ 12 h 50"/>
                <a:gd name="T8" fmla="*/ 41 w 108"/>
                <a:gd name="T9" fmla="*/ 50 h 50"/>
                <a:gd name="T10" fmla="*/ 48 w 108"/>
                <a:gd name="T11" fmla="*/ 50 h 50"/>
                <a:gd name="T12" fmla="*/ 48 w 108"/>
                <a:gd name="T13" fmla="*/ 31 h 50"/>
                <a:gd name="T14" fmla="*/ 101 w 108"/>
                <a:gd name="T15" fmla="*/ 31 h 50"/>
                <a:gd name="T16" fmla="*/ 101 w 108"/>
                <a:gd name="T17" fmla="*/ 50 h 50"/>
                <a:gd name="T18" fmla="*/ 108 w 108"/>
                <a:gd name="T19" fmla="*/ 50 h 50"/>
                <a:gd name="T20" fmla="*/ 108 w 10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50">
                  <a:moveTo>
                    <a:pt x="108" y="0"/>
                  </a:moveTo>
                  <a:lnTo>
                    <a:pt x="70" y="0"/>
                  </a:lnTo>
                  <a:lnTo>
                    <a:pt x="70" y="12"/>
                  </a:lnTo>
                  <a:lnTo>
                    <a:pt x="0" y="12"/>
                  </a:lnTo>
                  <a:lnTo>
                    <a:pt x="41" y="50"/>
                  </a:lnTo>
                  <a:lnTo>
                    <a:pt x="48" y="50"/>
                  </a:lnTo>
                  <a:lnTo>
                    <a:pt x="48" y="31"/>
                  </a:lnTo>
                  <a:lnTo>
                    <a:pt x="101" y="31"/>
                  </a:lnTo>
                  <a:lnTo>
                    <a:pt x="101" y="50"/>
                  </a:lnTo>
                  <a:lnTo>
                    <a:pt x="108" y="5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íṣ1îďê"/>
            <p:cNvSpPr/>
            <p:nvPr/>
          </p:nvSpPr>
          <p:spPr bwMode="auto">
            <a:xfrm>
              <a:off x="5795963" y="4332288"/>
              <a:ext cx="171450" cy="79375"/>
            </a:xfrm>
            <a:custGeom>
              <a:avLst/>
              <a:gdLst>
                <a:gd name="T0" fmla="*/ 108 w 108"/>
                <a:gd name="T1" fmla="*/ 0 h 50"/>
                <a:gd name="T2" fmla="*/ 70 w 108"/>
                <a:gd name="T3" fmla="*/ 0 h 50"/>
                <a:gd name="T4" fmla="*/ 70 w 108"/>
                <a:gd name="T5" fmla="*/ 12 h 50"/>
                <a:gd name="T6" fmla="*/ 0 w 108"/>
                <a:gd name="T7" fmla="*/ 12 h 50"/>
                <a:gd name="T8" fmla="*/ 41 w 108"/>
                <a:gd name="T9" fmla="*/ 50 h 50"/>
                <a:gd name="T10" fmla="*/ 48 w 108"/>
                <a:gd name="T11" fmla="*/ 50 h 50"/>
                <a:gd name="T12" fmla="*/ 48 w 108"/>
                <a:gd name="T13" fmla="*/ 31 h 50"/>
                <a:gd name="T14" fmla="*/ 101 w 108"/>
                <a:gd name="T15" fmla="*/ 31 h 50"/>
                <a:gd name="T16" fmla="*/ 101 w 108"/>
                <a:gd name="T17" fmla="*/ 50 h 50"/>
                <a:gd name="T18" fmla="*/ 108 w 108"/>
                <a:gd name="T19" fmla="*/ 50 h 50"/>
                <a:gd name="T20" fmla="*/ 108 w 10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50">
                  <a:moveTo>
                    <a:pt x="108" y="0"/>
                  </a:moveTo>
                  <a:lnTo>
                    <a:pt x="70" y="0"/>
                  </a:lnTo>
                  <a:lnTo>
                    <a:pt x="70" y="12"/>
                  </a:lnTo>
                  <a:lnTo>
                    <a:pt x="0" y="12"/>
                  </a:lnTo>
                  <a:lnTo>
                    <a:pt x="41" y="50"/>
                  </a:lnTo>
                  <a:lnTo>
                    <a:pt x="48" y="50"/>
                  </a:lnTo>
                  <a:lnTo>
                    <a:pt x="48" y="31"/>
                  </a:lnTo>
                  <a:lnTo>
                    <a:pt x="101" y="31"/>
                  </a:lnTo>
                  <a:lnTo>
                    <a:pt x="101" y="50"/>
                  </a:lnTo>
                  <a:lnTo>
                    <a:pt x="108" y="50"/>
                  </a:lnTo>
                  <a:lnTo>
                    <a:pt x="108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iSḻiḑe"/>
            <p:cNvSpPr/>
            <p:nvPr/>
          </p:nvSpPr>
          <p:spPr bwMode="auto">
            <a:xfrm>
              <a:off x="5872163" y="4381500"/>
              <a:ext cx="84138" cy="1109663"/>
            </a:xfrm>
            <a:custGeom>
              <a:avLst/>
              <a:gdLst>
                <a:gd name="T0" fmla="*/ 53 w 53"/>
                <a:gd name="T1" fmla="*/ 0 h 699"/>
                <a:gd name="T2" fmla="*/ 0 w 53"/>
                <a:gd name="T3" fmla="*/ 0 h 699"/>
                <a:gd name="T4" fmla="*/ 0 w 53"/>
                <a:gd name="T5" fmla="*/ 19 h 699"/>
                <a:gd name="T6" fmla="*/ 10 w 53"/>
                <a:gd name="T7" fmla="*/ 699 h 699"/>
                <a:gd name="T8" fmla="*/ 53 w 53"/>
                <a:gd name="T9" fmla="*/ 699 h 699"/>
                <a:gd name="T10" fmla="*/ 53 w 53"/>
                <a:gd name="T11" fmla="*/ 19 h 699"/>
                <a:gd name="T12" fmla="*/ 53 w 53"/>
                <a:gd name="T13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99">
                  <a:moveTo>
                    <a:pt x="53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0" y="699"/>
                  </a:lnTo>
                  <a:lnTo>
                    <a:pt x="53" y="699"/>
                  </a:lnTo>
                  <a:lnTo>
                    <a:pt x="53" y="19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iṡḷiḑê"/>
            <p:cNvSpPr/>
            <p:nvPr/>
          </p:nvSpPr>
          <p:spPr bwMode="auto">
            <a:xfrm>
              <a:off x="5872163" y="4381500"/>
              <a:ext cx="84138" cy="1109663"/>
            </a:xfrm>
            <a:custGeom>
              <a:avLst/>
              <a:gdLst>
                <a:gd name="T0" fmla="*/ 53 w 53"/>
                <a:gd name="T1" fmla="*/ 0 h 699"/>
                <a:gd name="T2" fmla="*/ 0 w 53"/>
                <a:gd name="T3" fmla="*/ 0 h 699"/>
                <a:gd name="T4" fmla="*/ 0 w 53"/>
                <a:gd name="T5" fmla="*/ 19 h 699"/>
                <a:gd name="T6" fmla="*/ 10 w 53"/>
                <a:gd name="T7" fmla="*/ 699 h 699"/>
                <a:gd name="T8" fmla="*/ 53 w 53"/>
                <a:gd name="T9" fmla="*/ 699 h 699"/>
                <a:gd name="T10" fmla="*/ 53 w 53"/>
                <a:gd name="T11" fmla="*/ 19 h 699"/>
                <a:gd name="T12" fmla="*/ 53 w 53"/>
                <a:gd name="T13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99">
                  <a:moveTo>
                    <a:pt x="53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0" y="699"/>
                  </a:lnTo>
                  <a:lnTo>
                    <a:pt x="53" y="699"/>
                  </a:lnTo>
                  <a:lnTo>
                    <a:pt x="53" y="19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ïṧļiḍé"/>
            <p:cNvSpPr/>
            <p:nvPr/>
          </p:nvSpPr>
          <p:spPr bwMode="auto">
            <a:xfrm>
              <a:off x="5586413" y="4351338"/>
              <a:ext cx="144463" cy="49213"/>
            </a:xfrm>
            <a:custGeom>
              <a:avLst/>
              <a:gdLst>
                <a:gd name="T0" fmla="*/ 91 w 91"/>
                <a:gd name="T1" fmla="*/ 0 h 31"/>
                <a:gd name="T2" fmla="*/ 0 w 91"/>
                <a:gd name="T3" fmla="*/ 0 h 31"/>
                <a:gd name="T4" fmla="*/ 34 w 91"/>
                <a:gd name="T5" fmla="*/ 31 h 31"/>
                <a:gd name="T6" fmla="*/ 41 w 91"/>
                <a:gd name="T7" fmla="*/ 31 h 31"/>
                <a:gd name="T8" fmla="*/ 41 w 91"/>
                <a:gd name="T9" fmla="*/ 14 h 31"/>
                <a:gd name="T10" fmla="*/ 84 w 91"/>
                <a:gd name="T11" fmla="*/ 14 h 31"/>
                <a:gd name="T12" fmla="*/ 84 w 91"/>
                <a:gd name="T13" fmla="*/ 31 h 31"/>
                <a:gd name="T14" fmla="*/ 91 w 91"/>
                <a:gd name="T15" fmla="*/ 31 h 31"/>
                <a:gd name="T16" fmla="*/ 91 w 91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31">
                  <a:moveTo>
                    <a:pt x="91" y="0"/>
                  </a:moveTo>
                  <a:lnTo>
                    <a:pt x="0" y="0"/>
                  </a:lnTo>
                  <a:lnTo>
                    <a:pt x="34" y="31"/>
                  </a:lnTo>
                  <a:lnTo>
                    <a:pt x="41" y="31"/>
                  </a:lnTo>
                  <a:lnTo>
                    <a:pt x="41" y="14"/>
                  </a:lnTo>
                  <a:lnTo>
                    <a:pt x="84" y="14"/>
                  </a:lnTo>
                  <a:lnTo>
                    <a:pt x="84" y="31"/>
                  </a:lnTo>
                  <a:lnTo>
                    <a:pt x="91" y="3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íşľïḍé"/>
            <p:cNvSpPr/>
            <p:nvPr/>
          </p:nvSpPr>
          <p:spPr bwMode="auto">
            <a:xfrm>
              <a:off x="5586413" y="4351338"/>
              <a:ext cx="144463" cy="49213"/>
            </a:xfrm>
            <a:custGeom>
              <a:avLst/>
              <a:gdLst>
                <a:gd name="T0" fmla="*/ 91 w 91"/>
                <a:gd name="T1" fmla="*/ 0 h 31"/>
                <a:gd name="T2" fmla="*/ 0 w 91"/>
                <a:gd name="T3" fmla="*/ 0 h 31"/>
                <a:gd name="T4" fmla="*/ 34 w 91"/>
                <a:gd name="T5" fmla="*/ 31 h 31"/>
                <a:gd name="T6" fmla="*/ 41 w 91"/>
                <a:gd name="T7" fmla="*/ 31 h 31"/>
                <a:gd name="T8" fmla="*/ 41 w 91"/>
                <a:gd name="T9" fmla="*/ 14 h 31"/>
                <a:gd name="T10" fmla="*/ 84 w 91"/>
                <a:gd name="T11" fmla="*/ 14 h 31"/>
                <a:gd name="T12" fmla="*/ 84 w 91"/>
                <a:gd name="T13" fmla="*/ 31 h 31"/>
                <a:gd name="T14" fmla="*/ 91 w 91"/>
                <a:gd name="T15" fmla="*/ 31 h 31"/>
                <a:gd name="T16" fmla="*/ 91 w 91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31">
                  <a:moveTo>
                    <a:pt x="91" y="0"/>
                  </a:moveTo>
                  <a:lnTo>
                    <a:pt x="0" y="0"/>
                  </a:lnTo>
                  <a:lnTo>
                    <a:pt x="34" y="31"/>
                  </a:lnTo>
                  <a:lnTo>
                    <a:pt x="41" y="31"/>
                  </a:lnTo>
                  <a:lnTo>
                    <a:pt x="41" y="14"/>
                  </a:lnTo>
                  <a:lnTo>
                    <a:pt x="84" y="14"/>
                  </a:lnTo>
                  <a:lnTo>
                    <a:pt x="84" y="31"/>
                  </a:lnTo>
                  <a:lnTo>
                    <a:pt x="91" y="31"/>
                  </a:lnTo>
                  <a:lnTo>
                    <a:pt x="91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ïšḻïďê"/>
            <p:cNvSpPr/>
            <p:nvPr/>
          </p:nvSpPr>
          <p:spPr bwMode="auto">
            <a:xfrm>
              <a:off x="5651500" y="4373563"/>
              <a:ext cx="68263" cy="1030288"/>
            </a:xfrm>
            <a:custGeom>
              <a:avLst/>
              <a:gdLst>
                <a:gd name="T0" fmla="*/ 43 w 43"/>
                <a:gd name="T1" fmla="*/ 0 h 649"/>
                <a:gd name="T2" fmla="*/ 0 w 43"/>
                <a:gd name="T3" fmla="*/ 0 h 649"/>
                <a:gd name="T4" fmla="*/ 0 w 43"/>
                <a:gd name="T5" fmla="*/ 17 h 649"/>
                <a:gd name="T6" fmla="*/ 7 w 43"/>
                <a:gd name="T7" fmla="*/ 649 h 649"/>
                <a:gd name="T8" fmla="*/ 43 w 43"/>
                <a:gd name="T9" fmla="*/ 649 h 649"/>
                <a:gd name="T10" fmla="*/ 43 w 43"/>
                <a:gd name="T11" fmla="*/ 17 h 649"/>
                <a:gd name="T12" fmla="*/ 43 w 43"/>
                <a:gd name="T13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649">
                  <a:moveTo>
                    <a:pt x="43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" y="649"/>
                  </a:lnTo>
                  <a:lnTo>
                    <a:pt x="43" y="649"/>
                  </a:lnTo>
                  <a:lnTo>
                    <a:pt x="43" y="17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iṥľîḍê"/>
            <p:cNvSpPr/>
            <p:nvPr/>
          </p:nvSpPr>
          <p:spPr bwMode="auto">
            <a:xfrm>
              <a:off x="5651500" y="4373563"/>
              <a:ext cx="68263" cy="1030288"/>
            </a:xfrm>
            <a:custGeom>
              <a:avLst/>
              <a:gdLst>
                <a:gd name="T0" fmla="*/ 43 w 43"/>
                <a:gd name="T1" fmla="*/ 0 h 649"/>
                <a:gd name="T2" fmla="*/ 0 w 43"/>
                <a:gd name="T3" fmla="*/ 0 h 649"/>
                <a:gd name="T4" fmla="*/ 0 w 43"/>
                <a:gd name="T5" fmla="*/ 17 h 649"/>
                <a:gd name="T6" fmla="*/ 7 w 43"/>
                <a:gd name="T7" fmla="*/ 649 h 649"/>
                <a:gd name="T8" fmla="*/ 43 w 43"/>
                <a:gd name="T9" fmla="*/ 649 h 649"/>
                <a:gd name="T10" fmla="*/ 43 w 43"/>
                <a:gd name="T11" fmla="*/ 17 h 649"/>
                <a:gd name="T12" fmla="*/ 43 w 43"/>
                <a:gd name="T13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649">
                  <a:moveTo>
                    <a:pt x="43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" y="649"/>
                  </a:lnTo>
                  <a:lnTo>
                    <a:pt x="43" y="649"/>
                  </a:lnTo>
                  <a:lnTo>
                    <a:pt x="43" y="17"/>
                  </a:lnTo>
                  <a:lnTo>
                    <a:pt x="4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ïSļîďé"/>
            <p:cNvSpPr/>
            <p:nvPr/>
          </p:nvSpPr>
          <p:spPr bwMode="auto">
            <a:xfrm>
              <a:off x="4478338" y="4281488"/>
              <a:ext cx="1428750" cy="69850"/>
            </a:xfrm>
            <a:custGeom>
              <a:avLst/>
              <a:gdLst>
                <a:gd name="T0" fmla="*/ 900 w 900"/>
                <a:gd name="T1" fmla="*/ 0 h 44"/>
                <a:gd name="T2" fmla="*/ 0 w 900"/>
                <a:gd name="T3" fmla="*/ 0 h 44"/>
                <a:gd name="T4" fmla="*/ 0 w 900"/>
                <a:gd name="T5" fmla="*/ 44 h 44"/>
                <a:gd name="T6" fmla="*/ 22 w 900"/>
                <a:gd name="T7" fmla="*/ 44 h 44"/>
                <a:gd name="T8" fmla="*/ 22 w 900"/>
                <a:gd name="T9" fmla="*/ 32 h 44"/>
                <a:gd name="T10" fmla="*/ 142 w 900"/>
                <a:gd name="T11" fmla="*/ 32 h 44"/>
                <a:gd name="T12" fmla="*/ 133 w 900"/>
                <a:gd name="T13" fmla="*/ 44 h 44"/>
                <a:gd name="T14" fmla="*/ 173 w 900"/>
                <a:gd name="T15" fmla="*/ 44 h 44"/>
                <a:gd name="T16" fmla="*/ 173 w 900"/>
                <a:gd name="T17" fmla="*/ 32 h 44"/>
                <a:gd name="T18" fmla="*/ 274 w 900"/>
                <a:gd name="T19" fmla="*/ 32 h 44"/>
                <a:gd name="T20" fmla="*/ 262 w 900"/>
                <a:gd name="T21" fmla="*/ 44 h 44"/>
                <a:gd name="T22" fmla="*/ 698 w 900"/>
                <a:gd name="T23" fmla="*/ 44 h 44"/>
                <a:gd name="T24" fmla="*/ 789 w 900"/>
                <a:gd name="T25" fmla="*/ 44 h 44"/>
                <a:gd name="T26" fmla="*/ 830 w 900"/>
                <a:gd name="T27" fmla="*/ 44 h 44"/>
                <a:gd name="T28" fmla="*/ 900 w 900"/>
                <a:gd name="T29" fmla="*/ 44 h 44"/>
                <a:gd name="T30" fmla="*/ 900 w 900"/>
                <a:gd name="T31" fmla="*/ 32 h 44"/>
                <a:gd name="T32" fmla="*/ 900 w 900"/>
                <a:gd name="T3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0" h="44">
                  <a:moveTo>
                    <a:pt x="900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22" y="44"/>
                  </a:lnTo>
                  <a:lnTo>
                    <a:pt x="22" y="32"/>
                  </a:lnTo>
                  <a:lnTo>
                    <a:pt x="142" y="32"/>
                  </a:lnTo>
                  <a:lnTo>
                    <a:pt x="133" y="44"/>
                  </a:lnTo>
                  <a:lnTo>
                    <a:pt x="173" y="44"/>
                  </a:lnTo>
                  <a:lnTo>
                    <a:pt x="173" y="32"/>
                  </a:lnTo>
                  <a:lnTo>
                    <a:pt x="274" y="32"/>
                  </a:lnTo>
                  <a:lnTo>
                    <a:pt x="262" y="44"/>
                  </a:lnTo>
                  <a:lnTo>
                    <a:pt x="698" y="44"/>
                  </a:lnTo>
                  <a:lnTo>
                    <a:pt x="789" y="44"/>
                  </a:lnTo>
                  <a:lnTo>
                    <a:pt x="830" y="44"/>
                  </a:lnTo>
                  <a:lnTo>
                    <a:pt x="900" y="44"/>
                  </a:lnTo>
                  <a:lnTo>
                    <a:pt x="900" y="32"/>
                  </a:lnTo>
                  <a:lnTo>
                    <a:pt x="90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îṣlíḍê"/>
            <p:cNvSpPr/>
            <p:nvPr/>
          </p:nvSpPr>
          <p:spPr bwMode="auto">
            <a:xfrm>
              <a:off x="4478338" y="4281488"/>
              <a:ext cx="1428750" cy="69850"/>
            </a:xfrm>
            <a:custGeom>
              <a:avLst/>
              <a:gdLst>
                <a:gd name="T0" fmla="*/ 900 w 900"/>
                <a:gd name="T1" fmla="*/ 0 h 44"/>
                <a:gd name="T2" fmla="*/ 0 w 900"/>
                <a:gd name="T3" fmla="*/ 0 h 44"/>
                <a:gd name="T4" fmla="*/ 0 w 900"/>
                <a:gd name="T5" fmla="*/ 44 h 44"/>
                <a:gd name="T6" fmla="*/ 22 w 900"/>
                <a:gd name="T7" fmla="*/ 44 h 44"/>
                <a:gd name="T8" fmla="*/ 22 w 900"/>
                <a:gd name="T9" fmla="*/ 32 h 44"/>
                <a:gd name="T10" fmla="*/ 142 w 900"/>
                <a:gd name="T11" fmla="*/ 32 h 44"/>
                <a:gd name="T12" fmla="*/ 133 w 900"/>
                <a:gd name="T13" fmla="*/ 44 h 44"/>
                <a:gd name="T14" fmla="*/ 173 w 900"/>
                <a:gd name="T15" fmla="*/ 44 h 44"/>
                <a:gd name="T16" fmla="*/ 173 w 900"/>
                <a:gd name="T17" fmla="*/ 32 h 44"/>
                <a:gd name="T18" fmla="*/ 274 w 900"/>
                <a:gd name="T19" fmla="*/ 32 h 44"/>
                <a:gd name="T20" fmla="*/ 262 w 900"/>
                <a:gd name="T21" fmla="*/ 44 h 44"/>
                <a:gd name="T22" fmla="*/ 698 w 900"/>
                <a:gd name="T23" fmla="*/ 44 h 44"/>
                <a:gd name="T24" fmla="*/ 789 w 900"/>
                <a:gd name="T25" fmla="*/ 44 h 44"/>
                <a:gd name="T26" fmla="*/ 830 w 900"/>
                <a:gd name="T27" fmla="*/ 44 h 44"/>
                <a:gd name="T28" fmla="*/ 900 w 900"/>
                <a:gd name="T29" fmla="*/ 44 h 44"/>
                <a:gd name="T30" fmla="*/ 900 w 900"/>
                <a:gd name="T31" fmla="*/ 32 h 44"/>
                <a:gd name="T32" fmla="*/ 900 w 900"/>
                <a:gd name="T3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0" h="44">
                  <a:moveTo>
                    <a:pt x="900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22" y="44"/>
                  </a:lnTo>
                  <a:lnTo>
                    <a:pt x="22" y="32"/>
                  </a:lnTo>
                  <a:lnTo>
                    <a:pt x="142" y="32"/>
                  </a:lnTo>
                  <a:lnTo>
                    <a:pt x="133" y="44"/>
                  </a:lnTo>
                  <a:lnTo>
                    <a:pt x="173" y="44"/>
                  </a:lnTo>
                  <a:lnTo>
                    <a:pt x="173" y="32"/>
                  </a:lnTo>
                  <a:lnTo>
                    <a:pt x="274" y="32"/>
                  </a:lnTo>
                  <a:lnTo>
                    <a:pt x="262" y="44"/>
                  </a:lnTo>
                  <a:lnTo>
                    <a:pt x="698" y="44"/>
                  </a:lnTo>
                  <a:lnTo>
                    <a:pt x="789" y="44"/>
                  </a:lnTo>
                  <a:lnTo>
                    <a:pt x="830" y="44"/>
                  </a:lnTo>
                  <a:lnTo>
                    <a:pt x="900" y="44"/>
                  </a:lnTo>
                  <a:lnTo>
                    <a:pt x="900" y="32"/>
                  </a:lnTo>
                  <a:lnTo>
                    <a:pt x="90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ï$lídê"/>
            <p:cNvSpPr/>
            <p:nvPr/>
          </p:nvSpPr>
          <p:spPr bwMode="auto">
            <a:xfrm>
              <a:off x="4513263" y="4332288"/>
              <a:ext cx="190500" cy="79375"/>
            </a:xfrm>
            <a:custGeom>
              <a:avLst/>
              <a:gdLst>
                <a:gd name="T0" fmla="*/ 120 w 120"/>
                <a:gd name="T1" fmla="*/ 0 h 50"/>
                <a:gd name="T2" fmla="*/ 0 w 120"/>
                <a:gd name="T3" fmla="*/ 0 h 50"/>
                <a:gd name="T4" fmla="*/ 0 w 120"/>
                <a:gd name="T5" fmla="*/ 12 h 50"/>
                <a:gd name="T6" fmla="*/ 0 w 120"/>
                <a:gd name="T7" fmla="*/ 50 h 50"/>
                <a:gd name="T8" fmla="*/ 10 w 120"/>
                <a:gd name="T9" fmla="*/ 50 h 50"/>
                <a:gd name="T10" fmla="*/ 10 w 120"/>
                <a:gd name="T11" fmla="*/ 31 h 50"/>
                <a:gd name="T12" fmla="*/ 60 w 120"/>
                <a:gd name="T13" fmla="*/ 31 h 50"/>
                <a:gd name="T14" fmla="*/ 60 w 120"/>
                <a:gd name="T15" fmla="*/ 50 h 50"/>
                <a:gd name="T16" fmla="*/ 70 w 120"/>
                <a:gd name="T17" fmla="*/ 50 h 50"/>
                <a:gd name="T18" fmla="*/ 111 w 120"/>
                <a:gd name="T19" fmla="*/ 12 h 50"/>
                <a:gd name="T20" fmla="*/ 120 w 120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50">
                  <a:moveTo>
                    <a:pt x="12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50"/>
                  </a:lnTo>
                  <a:lnTo>
                    <a:pt x="10" y="50"/>
                  </a:lnTo>
                  <a:lnTo>
                    <a:pt x="10" y="31"/>
                  </a:lnTo>
                  <a:lnTo>
                    <a:pt x="60" y="31"/>
                  </a:lnTo>
                  <a:lnTo>
                    <a:pt x="60" y="50"/>
                  </a:lnTo>
                  <a:lnTo>
                    <a:pt x="70" y="50"/>
                  </a:lnTo>
                  <a:lnTo>
                    <a:pt x="111" y="12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íśļiḋé"/>
            <p:cNvSpPr/>
            <p:nvPr/>
          </p:nvSpPr>
          <p:spPr bwMode="auto">
            <a:xfrm>
              <a:off x="4513263" y="4332288"/>
              <a:ext cx="190500" cy="79375"/>
            </a:xfrm>
            <a:custGeom>
              <a:avLst/>
              <a:gdLst>
                <a:gd name="T0" fmla="*/ 120 w 120"/>
                <a:gd name="T1" fmla="*/ 0 h 50"/>
                <a:gd name="T2" fmla="*/ 0 w 120"/>
                <a:gd name="T3" fmla="*/ 0 h 50"/>
                <a:gd name="T4" fmla="*/ 0 w 120"/>
                <a:gd name="T5" fmla="*/ 12 h 50"/>
                <a:gd name="T6" fmla="*/ 0 w 120"/>
                <a:gd name="T7" fmla="*/ 50 h 50"/>
                <a:gd name="T8" fmla="*/ 10 w 120"/>
                <a:gd name="T9" fmla="*/ 50 h 50"/>
                <a:gd name="T10" fmla="*/ 10 w 120"/>
                <a:gd name="T11" fmla="*/ 31 h 50"/>
                <a:gd name="T12" fmla="*/ 60 w 120"/>
                <a:gd name="T13" fmla="*/ 31 h 50"/>
                <a:gd name="T14" fmla="*/ 60 w 120"/>
                <a:gd name="T15" fmla="*/ 50 h 50"/>
                <a:gd name="T16" fmla="*/ 70 w 120"/>
                <a:gd name="T17" fmla="*/ 50 h 50"/>
                <a:gd name="T18" fmla="*/ 111 w 120"/>
                <a:gd name="T19" fmla="*/ 12 h 50"/>
                <a:gd name="T20" fmla="*/ 120 w 120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50">
                  <a:moveTo>
                    <a:pt x="12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50"/>
                  </a:lnTo>
                  <a:lnTo>
                    <a:pt x="10" y="50"/>
                  </a:lnTo>
                  <a:lnTo>
                    <a:pt x="10" y="31"/>
                  </a:lnTo>
                  <a:lnTo>
                    <a:pt x="60" y="31"/>
                  </a:lnTo>
                  <a:lnTo>
                    <a:pt x="60" y="50"/>
                  </a:lnTo>
                  <a:lnTo>
                    <a:pt x="70" y="50"/>
                  </a:lnTo>
                  <a:lnTo>
                    <a:pt x="111" y="12"/>
                  </a:lnTo>
                  <a:lnTo>
                    <a:pt x="12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iśľïďê"/>
            <p:cNvSpPr/>
            <p:nvPr/>
          </p:nvSpPr>
          <p:spPr bwMode="auto">
            <a:xfrm>
              <a:off x="4529138" y="4381500"/>
              <a:ext cx="79375" cy="1109663"/>
            </a:xfrm>
            <a:custGeom>
              <a:avLst/>
              <a:gdLst>
                <a:gd name="T0" fmla="*/ 50 w 50"/>
                <a:gd name="T1" fmla="*/ 0 h 699"/>
                <a:gd name="T2" fmla="*/ 0 w 50"/>
                <a:gd name="T3" fmla="*/ 0 h 699"/>
                <a:gd name="T4" fmla="*/ 0 w 50"/>
                <a:gd name="T5" fmla="*/ 19 h 699"/>
                <a:gd name="T6" fmla="*/ 0 w 50"/>
                <a:gd name="T7" fmla="*/ 699 h 699"/>
                <a:gd name="T8" fmla="*/ 40 w 50"/>
                <a:gd name="T9" fmla="*/ 699 h 699"/>
                <a:gd name="T10" fmla="*/ 50 w 50"/>
                <a:gd name="T11" fmla="*/ 19 h 699"/>
                <a:gd name="T12" fmla="*/ 50 w 50"/>
                <a:gd name="T13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9">
                  <a:moveTo>
                    <a:pt x="50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0" y="699"/>
                  </a:lnTo>
                  <a:lnTo>
                    <a:pt x="40" y="699"/>
                  </a:lnTo>
                  <a:lnTo>
                    <a:pt x="50" y="19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í$ľïḋè"/>
            <p:cNvSpPr/>
            <p:nvPr/>
          </p:nvSpPr>
          <p:spPr bwMode="auto">
            <a:xfrm>
              <a:off x="4529138" y="4381500"/>
              <a:ext cx="79375" cy="1109663"/>
            </a:xfrm>
            <a:custGeom>
              <a:avLst/>
              <a:gdLst>
                <a:gd name="T0" fmla="*/ 50 w 50"/>
                <a:gd name="T1" fmla="*/ 0 h 699"/>
                <a:gd name="T2" fmla="*/ 0 w 50"/>
                <a:gd name="T3" fmla="*/ 0 h 699"/>
                <a:gd name="T4" fmla="*/ 0 w 50"/>
                <a:gd name="T5" fmla="*/ 19 h 699"/>
                <a:gd name="T6" fmla="*/ 0 w 50"/>
                <a:gd name="T7" fmla="*/ 699 h 699"/>
                <a:gd name="T8" fmla="*/ 40 w 50"/>
                <a:gd name="T9" fmla="*/ 699 h 699"/>
                <a:gd name="T10" fmla="*/ 50 w 50"/>
                <a:gd name="T11" fmla="*/ 19 h 699"/>
                <a:gd name="T12" fmla="*/ 50 w 50"/>
                <a:gd name="T13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9">
                  <a:moveTo>
                    <a:pt x="50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0" y="699"/>
                  </a:lnTo>
                  <a:lnTo>
                    <a:pt x="40" y="699"/>
                  </a:lnTo>
                  <a:lnTo>
                    <a:pt x="50" y="19"/>
                  </a:lnTo>
                  <a:lnTo>
                    <a:pt x="5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ïŝ1ïdê"/>
            <p:cNvSpPr/>
            <p:nvPr/>
          </p:nvSpPr>
          <p:spPr bwMode="auto">
            <a:xfrm>
              <a:off x="4752975" y="4332288"/>
              <a:ext cx="160338" cy="68263"/>
            </a:xfrm>
            <a:custGeom>
              <a:avLst/>
              <a:gdLst>
                <a:gd name="T0" fmla="*/ 101 w 101"/>
                <a:gd name="T1" fmla="*/ 0 h 43"/>
                <a:gd name="T2" fmla="*/ 0 w 101"/>
                <a:gd name="T3" fmla="*/ 0 h 43"/>
                <a:gd name="T4" fmla="*/ 0 w 101"/>
                <a:gd name="T5" fmla="*/ 12 h 43"/>
                <a:gd name="T6" fmla="*/ 0 w 101"/>
                <a:gd name="T7" fmla="*/ 43 h 43"/>
                <a:gd name="T8" fmla="*/ 5 w 101"/>
                <a:gd name="T9" fmla="*/ 43 h 43"/>
                <a:gd name="T10" fmla="*/ 5 w 101"/>
                <a:gd name="T11" fmla="*/ 26 h 43"/>
                <a:gd name="T12" fmla="*/ 51 w 101"/>
                <a:gd name="T13" fmla="*/ 26 h 43"/>
                <a:gd name="T14" fmla="*/ 51 w 101"/>
                <a:gd name="T15" fmla="*/ 43 h 43"/>
                <a:gd name="T16" fmla="*/ 56 w 101"/>
                <a:gd name="T17" fmla="*/ 43 h 43"/>
                <a:gd name="T18" fmla="*/ 89 w 101"/>
                <a:gd name="T19" fmla="*/ 12 h 43"/>
                <a:gd name="T20" fmla="*/ 101 w 10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" h="43">
                  <a:moveTo>
                    <a:pt x="10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5" y="26"/>
                  </a:lnTo>
                  <a:lnTo>
                    <a:pt x="51" y="26"/>
                  </a:lnTo>
                  <a:lnTo>
                    <a:pt x="51" y="43"/>
                  </a:lnTo>
                  <a:lnTo>
                    <a:pt x="56" y="43"/>
                  </a:lnTo>
                  <a:lnTo>
                    <a:pt x="89" y="1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íṡľiďé"/>
            <p:cNvSpPr/>
            <p:nvPr/>
          </p:nvSpPr>
          <p:spPr bwMode="auto">
            <a:xfrm>
              <a:off x="4752975" y="4332288"/>
              <a:ext cx="160338" cy="68263"/>
            </a:xfrm>
            <a:custGeom>
              <a:avLst/>
              <a:gdLst>
                <a:gd name="T0" fmla="*/ 101 w 101"/>
                <a:gd name="T1" fmla="*/ 0 h 43"/>
                <a:gd name="T2" fmla="*/ 0 w 101"/>
                <a:gd name="T3" fmla="*/ 0 h 43"/>
                <a:gd name="T4" fmla="*/ 0 w 101"/>
                <a:gd name="T5" fmla="*/ 12 h 43"/>
                <a:gd name="T6" fmla="*/ 0 w 101"/>
                <a:gd name="T7" fmla="*/ 43 h 43"/>
                <a:gd name="T8" fmla="*/ 5 w 101"/>
                <a:gd name="T9" fmla="*/ 43 h 43"/>
                <a:gd name="T10" fmla="*/ 5 w 101"/>
                <a:gd name="T11" fmla="*/ 26 h 43"/>
                <a:gd name="T12" fmla="*/ 51 w 101"/>
                <a:gd name="T13" fmla="*/ 26 h 43"/>
                <a:gd name="T14" fmla="*/ 51 w 101"/>
                <a:gd name="T15" fmla="*/ 43 h 43"/>
                <a:gd name="T16" fmla="*/ 56 w 101"/>
                <a:gd name="T17" fmla="*/ 43 h 43"/>
                <a:gd name="T18" fmla="*/ 89 w 101"/>
                <a:gd name="T19" fmla="*/ 12 h 43"/>
                <a:gd name="T20" fmla="*/ 101 w 10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" h="43">
                  <a:moveTo>
                    <a:pt x="10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5" y="26"/>
                  </a:lnTo>
                  <a:lnTo>
                    <a:pt x="51" y="26"/>
                  </a:lnTo>
                  <a:lnTo>
                    <a:pt x="51" y="43"/>
                  </a:lnTo>
                  <a:lnTo>
                    <a:pt x="56" y="43"/>
                  </a:lnTo>
                  <a:lnTo>
                    <a:pt x="89" y="12"/>
                  </a:lnTo>
                  <a:lnTo>
                    <a:pt x="101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îṧľíde"/>
            <p:cNvSpPr/>
            <p:nvPr/>
          </p:nvSpPr>
          <p:spPr bwMode="auto">
            <a:xfrm>
              <a:off x="4760913" y="4373563"/>
              <a:ext cx="73025" cy="1030288"/>
            </a:xfrm>
            <a:custGeom>
              <a:avLst/>
              <a:gdLst>
                <a:gd name="T0" fmla="*/ 46 w 46"/>
                <a:gd name="T1" fmla="*/ 0 h 649"/>
                <a:gd name="T2" fmla="*/ 0 w 46"/>
                <a:gd name="T3" fmla="*/ 0 h 649"/>
                <a:gd name="T4" fmla="*/ 0 w 46"/>
                <a:gd name="T5" fmla="*/ 17 h 649"/>
                <a:gd name="T6" fmla="*/ 0 w 46"/>
                <a:gd name="T7" fmla="*/ 649 h 649"/>
                <a:gd name="T8" fmla="*/ 36 w 46"/>
                <a:gd name="T9" fmla="*/ 649 h 649"/>
                <a:gd name="T10" fmla="*/ 46 w 46"/>
                <a:gd name="T11" fmla="*/ 17 h 649"/>
                <a:gd name="T12" fmla="*/ 46 w 46"/>
                <a:gd name="T13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649">
                  <a:moveTo>
                    <a:pt x="46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0" y="649"/>
                  </a:lnTo>
                  <a:lnTo>
                    <a:pt x="36" y="649"/>
                  </a:lnTo>
                  <a:lnTo>
                    <a:pt x="46" y="17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iṧḷïḑé"/>
            <p:cNvSpPr/>
            <p:nvPr/>
          </p:nvSpPr>
          <p:spPr bwMode="auto">
            <a:xfrm>
              <a:off x="4760913" y="4373563"/>
              <a:ext cx="73025" cy="1030288"/>
            </a:xfrm>
            <a:custGeom>
              <a:avLst/>
              <a:gdLst>
                <a:gd name="T0" fmla="*/ 46 w 46"/>
                <a:gd name="T1" fmla="*/ 0 h 649"/>
                <a:gd name="T2" fmla="*/ 0 w 46"/>
                <a:gd name="T3" fmla="*/ 0 h 649"/>
                <a:gd name="T4" fmla="*/ 0 w 46"/>
                <a:gd name="T5" fmla="*/ 17 h 649"/>
                <a:gd name="T6" fmla="*/ 0 w 46"/>
                <a:gd name="T7" fmla="*/ 649 h 649"/>
                <a:gd name="T8" fmla="*/ 36 w 46"/>
                <a:gd name="T9" fmla="*/ 649 h 649"/>
                <a:gd name="T10" fmla="*/ 46 w 46"/>
                <a:gd name="T11" fmla="*/ 17 h 649"/>
                <a:gd name="T12" fmla="*/ 46 w 46"/>
                <a:gd name="T13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649">
                  <a:moveTo>
                    <a:pt x="46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0" y="649"/>
                  </a:lnTo>
                  <a:lnTo>
                    <a:pt x="36" y="649"/>
                  </a:lnTo>
                  <a:lnTo>
                    <a:pt x="46" y="17"/>
                  </a:lnTo>
                  <a:lnTo>
                    <a:pt x="4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iṧḷíde"/>
            <p:cNvSpPr/>
            <p:nvPr/>
          </p:nvSpPr>
          <p:spPr bwMode="auto">
            <a:xfrm>
              <a:off x="4826000" y="4071938"/>
              <a:ext cx="114300" cy="138113"/>
            </a:xfrm>
            <a:custGeom>
              <a:avLst/>
              <a:gdLst>
                <a:gd name="T0" fmla="*/ 0 w 72"/>
                <a:gd name="T1" fmla="*/ 7 h 87"/>
                <a:gd name="T2" fmla="*/ 5 w 72"/>
                <a:gd name="T3" fmla="*/ 87 h 87"/>
                <a:gd name="T4" fmla="*/ 72 w 72"/>
                <a:gd name="T5" fmla="*/ 87 h 87"/>
                <a:gd name="T6" fmla="*/ 68 w 72"/>
                <a:gd name="T7" fmla="*/ 0 h 87"/>
                <a:gd name="T8" fmla="*/ 0 w 72"/>
                <a:gd name="T9" fmla="*/ 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87">
                  <a:moveTo>
                    <a:pt x="0" y="7"/>
                  </a:moveTo>
                  <a:lnTo>
                    <a:pt x="5" y="87"/>
                  </a:lnTo>
                  <a:lnTo>
                    <a:pt x="72" y="87"/>
                  </a:lnTo>
                  <a:lnTo>
                    <a:pt x="68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ísḻïḑè"/>
            <p:cNvSpPr/>
            <p:nvPr/>
          </p:nvSpPr>
          <p:spPr bwMode="auto">
            <a:xfrm>
              <a:off x="4811713" y="4183063"/>
              <a:ext cx="323850" cy="98425"/>
            </a:xfrm>
            <a:custGeom>
              <a:avLst/>
              <a:gdLst>
                <a:gd name="T0" fmla="*/ 0 w 85"/>
                <a:gd name="T1" fmla="*/ 7 h 26"/>
                <a:gd name="T2" fmla="*/ 6 w 85"/>
                <a:gd name="T3" fmla="*/ 0 h 26"/>
                <a:gd name="T4" fmla="*/ 51 w 85"/>
                <a:gd name="T5" fmla="*/ 0 h 26"/>
                <a:gd name="T6" fmla="*/ 84 w 85"/>
                <a:gd name="T7" fmla="*/ 17 h 26"/>
                <a:gd name="T8" fmla="*/ 78 w 85"/>
                <a:gd name="T9" fmla="*/ 26 h 26"/>
                <a:gd name="T10" fmla="*/ 7 w 85"/>
                <a:gd name="T11" fmla="*/ 26 h 26"/>
                <a:gd name="T12" fmla="*/ 0 w 85"/>
                <a:gd name="T13" fmla="*/ 19 h 26"/>
                <a:gd name="T14" fmla="*/ 0 w 85"/>
                <a:gd name="T15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26">
                  <a:moveTo>
                    <a:pt x="0" y="7"/>
                  </a:moveTo>
                  <a:cubicBezTo>
                    <a:pt x="0" y="3"/>
                    <a:pt x="3" y="0"/>
                    <a:pt x="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6" y="0"/>
                    <a:pt x="79" y="6"/>
                    <a:pt x="84" y="17"/>
                  </a:cubicBezTo>
                  <a:cubicBezTo>
                    <a:pt x="85" y="21"/>
                    <a:pt x="82" y="26"/>
                    <a:pt x="78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" y="26"/>
                    <a:pt x="0" y="23"/>
                    <a:pt x="0" y="19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ïṥ1îḓê"/>
            <p:cNvSpPr/>
            <p:nvPr/>
          </p:nvSpPr>
          <p:spPr bwMode="auto">
            <a:xfrm>
              <a:off x="4811713" y="4251325"/>
              <a:ext cx="323850" cy="30163"/>
            </a:xfrm>
            <a:custGeom>
              <a:avLst/>
              <a:gdLst>
                <a:gd name="T0" fmla="*/ 0 w 85"/>
                <a:gd name="T1" fmla="*/ 1 h 8"/>
                <a:gd name="T2" fmla="*/ 7 w 85"/>
                <a:gd name="T3" fmla="*/ 8 h 8"/>
                <a:gd name="T4" fmla="*/ 78 w 85"/>
                <a:gd name="T5" fmla="*/ 8 h 8"/>
                <a:gd name="T6" fmla="*/ 84 w 85"/>
                <a:gd name="T7" fmla="*/ 0 h 8"/>
                <a:gd name="T8" fmla="*/ 0 w 85"/>
                <a:gd name="T9" fmla="*/ 0 h 8"/>
                <a:gd name="T10" fmla="*/ 0 w 85"/>
                <a:gd name="T1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">
                  <a:moveTo>
                    <a:pt x="0" y="1"/>
                  </a:moveTo>
                  <a:cubicBezTo>
                    <a:pt x="0" y="5"/>
                    <a:pt x="3" y="8"/>
                    <a:pt x="7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82" y="8"/>
                    <a:pt x="85" y="4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i$lïḋe"/>
            <p:cNvSpPr/>
            <p:nvPr/>
          </p:nvSpPr>
          <p:spPr bwMode="auto">
            <a:xfrm>
              <a:off x="4940300" y="4167188"/>
              <a:ext cx="19050" cy="61913"/>
            </a:xfrm>
            <a:custGeom>
              <a:avLst/>
              <a:gdLst>
                <a:gd name="T0" fmla="*/ 3 w 5"/>
                <a:gd name="T1" fmla="*/ 16 h 16"/>
                <a:gd name="T2" fmla="*/ 0 w 5"/>
                <a:gd name="T3" fmla="*/ 13 h 16"/>
                <a:gd name="T4" fmla="*/ 0 w 5"/>
                <a:gd name="T5" fmla="*/ 3 h 16"/>
                <a:gd name="T6" fmla="*/ 3 w 5"/>
                <a:gd name="T7" fmla="*/ 0 h 16"/>
                <a:gd name="T8" fmla="*/ 5 w 5"/>
                <a:gd name="T9" fmla="*/ 3 h 16"/>
                <a:gd name="T10" fmla="*/ 5 w 5"/>
                <a:gd name="T11" fmla="*/ 13 h 16"/>
                <a:gd name="T12" fmla="*/ 3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3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îş1íḓè"/>
            <p:cNvSpPr/>
            <p:nvPr/>
          </p:nvSpPr>
          <p:spPr bwMode="auto">
            <a:xfrm>
              <a:off x="4983163" y="4167188"/>
              <a:ext cx="19050" cy="61913"/>
            </a:xfrm>
            <a:custGeom>
              <a:avLst/>
              <a:gdLst>
                <a:gd name="T0" fmla="*/ 2 w 5"/>
                <a:gd name="T1" fmla="*/ 16 h 16"/>
                <a:gd name="T2" fmla="*/ 0 w 5"/>
                <a:gd name="T3" fmla="*/ 13 h 16"/>
                <a:gd name="T4" fmla="*/ 0 w 5"/>
                <a:gd name="T5" fmla="*/ 3 h 16"/>
                <a:gd name="T6" fmla="*/ 2 w 5"/>
                <a:gd name="T7" fmla="*/ 0 h 16"/>
                <a:gd name="T8" fmla="*/ 5 w 5"/>
                <a:gd name="T9" fmla="*/ 3 h 16"/>
                <a:gd name="T10" fmla="*/ 5 w 5"/>
                <a:gd name="T11" fmla="*/ 13 h 16"/>
                <a:gd name="T12" fmla="*/ 2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2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îslíḓè"/>
            <p:cNvSpPr/>
            <p:nvPr/>
          </p:nvSpPr>
          <p:spPr bwMode="auto">
            <a:xfrm>
              <a:off x="5448300" y="4071938"/>
              <a:ext cx="119063" cy="138113"/>
            </a:xfrm>
            <a:custGeom>
              <a:avLst/>
              <a:gdLst>
                <a:gd name="T0" fmla="*/ 0 w 75"/>
                <a:gd name="T1" fmla="*/ 7 h 87"/>
                <a:gd name="T2" fmla="*/ 7 w 75"/>
                <a:gd name="T3" fmla="*/ 87 h 87"/>
                <a:gd name="T4" fmla="*/ 75 w 75"/>
                <a:gd name="T5" fmla="*/ 87 h 87"/>
                <a:gd name="T6" fmla="*/ 70 w 75"/>
                <a:gd name="T7" fmla="*/ 0 h 87"/>
                <a:gd name="T8" fmla="*/ 0 w 75"/>
                <a:gd name="T9" fmla="*/ 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7">
                  <a:moveTo>
                    <a:pt x="0" y="7"/>
                  </a:moveTo>
                  <a:lnTo>
                    <a:pt x="7" y="87"/>
                  </a:lnTo>
                  <a:lnTo>
                    <a:pt x="75" y="87"/>
                  </a:lnTo>
                  <a:lnTo>
                    <a:pt x="7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sľíḑê"/>
            <p:cNvSpPr/>
            <p:nvPr/>
          </p:nvSpPr>
          <p:spPr bwMode="auto">
            <a:xfrm>
              <a:off x="5437188" y="4183063"/>
              <a:ext cx="325438" cy="98425"/>
            </a:xfrm>
            <a:custGeom>
              <a:avLst/>
              <a:gdLst>
                <a:gd name="T0" fmla="*/ 0 w 85"/>
                <a:gd name="T1" fmla="*/ 7 h 26"/>
                <a:gd name="T2" fmla="*/ 6 w 85"/>
                <a:gd name="T3" fmla="*/ 0 h 26"/>
                <a:gd name="T4" fmla="*/ 51 w 85"/>
                <a:gd name="T5" fmla="*/ 0 h 26"/>
                <a:gd name="T6" fmla="*/ 83 w 85"/>
                <a:gd name="T7" fmla="*/ 17 h 26"/>
                <a:gd name="T8" fmla="*/ 77 w 85"/>
                <a:gd name="T9" fmla="*/ 26 h 26"/>
                <a:gd name="T10" fmla="*/ 6 w 85"/>
                <a:gd name="T11" fmla="*/ 26 h 26"/>
                <a:gd name="T12" fmla="*/ 0 w 85"/>
                <a:gd name="T13" fmla="*/ 19 h 26"/>
                <a:gd name="T14" fmla="*/ 0 w 85"/>
                <a:gd name="T15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26">
                  <a:moveTo>
                    <a:pt x="0" y="7"/>
                  </a:moveTo>
                  <a:cubicBezTo>
                    <a:pt x="0" y="3"/>
                    <a:pt x="3" y="0"/>
                    <a:pt x="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6" y="0"/>
                    <a:pt x="79" y="6"/>
                    <a:pt x="83" y="17"/>
                  </a:cubicBezTo>
                  <a:cubicBezTo>
                    <a:pt x="85" y="21"/>
                    <a:pt x="82" y="26"/>
                    <a:pt x="77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3" y="26"/>
                    <a:pt x="0" y="23"/>
                    <a:pt x="0" y="19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šlïḍé"/>
            <p:cNvSpPr/>
            <p:nvPr/>
          </p:nvSpPr>
          <p:spPr bwMode="auto">
            <a:xfrm>
              <a:off x="5437188" y="4251325"/>
              <a:ext cx="320675" cy="30163"/>
            </a:xfrm>
            <a:custGeom>
              <a:avLst/>
              <a:gdLst>
                <a:gd name="T0" fmla="*/ 0 w 84"/>
                <a:gd name="T1" fmla="*/ 1 h 8"/>
                <a:gd name="T2" fmla="*/ 6 w 84"/>
                <a:gd name="T3" fmla="*/ 8 h 8"/>
                <a:gd name="T4" fmla="*/ 77 w 84"/>
                <a:gd name="T5" fmla="*/ 8 h 8"/>
                <a:gd name="T6" fmla="*/ 84 w 84"/>
                <a:gd name="T7" fmla="*/ 0 h 8"/>
                <a:gd name="T8" fmla="*/ 0 w 84"/>
                <a:gd name="T9" fmla="*/ 0 h 8"/>
                <a:gd name="T10" fmla="*/ 0 w 84"/>
                <a:gd name="T1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">
                  <a:moveTo>
                    <a:pt x="0" y="1"/>
                  </a:moveTo>
                  <a:cubicBezTo>
                    <a:pt x="0" y="5"/>
                    <a:pt x="3" y="8"/>
                    <a:pt x="6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81" y="8"/>
                    <a:pt x="84" y="4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ïṩ1ïḑè"/>
            <p:cNvSpPr/>
            <p:nvPr/>
          </p:nvSpPr>
          <p:spPr bwMode="auto">
            <a:xfrm>
              <a:off x="5567363" y="4167188"/>
              <a:ext cx="19050" cy="61913"/>
            </a:xfrm>
            <a:custGeom>
              <a:avLst/>
              <a:gdLst>
                <a:gd name="T0" fmla="*/ 2 w 5"/>
                <a:gd name="T1" fmla="*/ 16 h 16"/>
                <a:gd name="T2" fmla="*/ 0 w 5"/>
                <a:gd name="T3" fmla="*/ 13 h 16"/>
                <a:gd name="T4" fmla="*/ 0 w 5"/>
                <a:gd name="T5" fmla="*/ 3 h 16"/>
                <a:gd name="T6" fmla="*/ 2 w 5"/>
                <a:gd name="T7" fmla="*/ 0 h 16"/>
                <a:gd name="T8" fmla="*/ 5 w 5"/>
                <a:gd name="T9" fmla="*/ 3 h 16"/>
                <a:gd name="T10" fmla="*/ 5 w 5"/>
                <a:gd name="T11" fmla="*/ 13 h 16"/>
                <a:gd name="T12" fmla="*/ 2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2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íśļîḓe"/>
            <p:cNvSpPr/>
            <p:nvPr/>
          </p:nvSpPr>
          <p:spPr bwMode="auto">
            <a:xfrm>
              <a:off x="5605463" y="4167188"/>
              <a:ext cx="22225" cy="61913"/>
            </a:xfrm>
            <a:custGeom>
              <a:avLst/>
              <a:gdLst>
                <a:gd name="T0" fmla="*/ 3 w 6"/>
                <a:gd name="T1" fmla="*/ 16 h 16"/>
                <a:gd name="T2" fmla="*/ 0 w 6"/>
                <a:gd name="T3" fmla="*/ 13 h 16"/>
                <a:gd name="T4" fmla="*/ 0 w 6"/>
                <a:gd name="T5" fmla="*/ 3 h 16"/>
                <a:gd name="T6" fmla="*/ 3 w 6"/>
                <a:gd name="T7" fmla="*/ 0 h 16"/>
                <a:gd name="T8" fmla="*/ 6 w 6"/>
                <a:gd name="T9" fmla="*/ 3 h 16"/>
                <a:gd name="T10" fmla="*/ 6 w 6"/>
                <a:gd name="T11" fmla="*/ 13 h 16"/>
                <a:gd name="T12" fmla="*/ 3 w 6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">
                  <a:moveTo>
                    <a:pt x="3" y="16"/>
                  </a:moveTo>
                  <a:cubicBezTo>
                    <a:pt x="2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5"/>
                    <a:pt x="5" y="16"/>
                    <a:pt x="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isľídè"/>
            <p:cNvSpPr/>
            <p:nvPr/>
          </p:nvSpPr>
          <p:spPr bwMode="auto">
            <a:xfrm>
              <a:off x="5146675" y="2922588"/>
              <a:ext cx="431800" cy="1209675"/>
            </a:xfrm>
            <a:custGeom>
              <a:avLst/>
              <a:gdLst>
                <a:gd name="T0" fmla="*/ 81 w 113"/>
                <a:gd name="T1" fmla="*/ 5 h 317"/>
                <a:gd name="T2" fmla="*/ 113 w 113"/>
                <a:gd name="T3" fmla="*/ 317 h 317"/>
                <a:gd name="T4" fmla="*/ 78 w 113"/>
                <a:gd name="T5" fmla="*/ 317 h 317"/>
                <a:gd name="T6" fmla="*/ 0 w 113"/>
                <a:gd name="T7" fmla="*/ 24 h 317"/>
                <a:gd name="T8" fmla="*/ 81 w 113"/>
                <a:gd name="T9" fmla="*/ 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317">
                  <a:moveTo>
                    <a:pt x="81" y="5"/>
                  </a:moveTo>
                  <a:cubicBezTo>
                    <a:pt x="81" y="5"/>
                    <a:pt x="112" y="225"/>
                    <a:pt x="113" y="317"/>
                  </a:cubicBezTo>
                  <a:cubicBezTo>
                    <a:pt x="78" y="317"/>
                    <a:pt x="78" y="317"/>
                    <a:pt x="78" y="317"/>
                  </a:cubicBezTo>
                  <a:cubicBezTo>
                    <a:pt x="78" y="317"/>
                    <a:pt x="59" y="162"/>
                    <a:pt x="0" y="24"/>
                  </a:cubicBezTo>
                  <a:cubicBezTo>
                    <a:pt x="20" y="8"/>
                    <a:pt x="46" y="0"/>
                    <a:pt x="81" y="5"/>
                  </a:cubicBez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iṣḷïḓé"/>
            <p:cNvSpPr/>
            <p:nvPr/>
          </p:nvSpPr>
          <p:spPr bwMode="auto">
            <a:xfrm>
              <a:off x="4799013" y="2903538"/>
              <a:ext cx="596900" cy="1217613"/>
            </a:xfrm>
            <a:custGeom>
              <a:avLst/>
              <a:gdLst>
                <a:gd name="T0" fmla="*/ 156 w 156"/>
                <a:gd name="T1" fmla="*/ 0 h 319"/>
                <a:gd name="T2" fmla="*/ 41 w 156"/>
                <a:gd name="T3" fmla="*/ 319 h 319"/>
                <a:gd name="T4" fmla="*/ 0 w 156"/>
                <a:gd name="T5" fmla="*/ 319 h 319"/>
                <a:gd name="T6" fmla="*/ 47 w 156"/>
                <a:gd name="T7" fmla="*/ 25 h 319"/>
                <a:gd name="T8" fmla="*/ 156 w 156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319">
                  <a:moveTo>
                    <a:pt x="156" y="0"/>
                  </a:moveTo>
                  <a:cubicBezTo>
                    <a:pt x="156" y="0"/>
                    <a:pt x="72" y="155"/>
                    <a:pt x="41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14" y="189"/>
                    <a:pt x="47" y="25"/>
                  </a:cubicBezTo>
                  <a:lnTo>
                    <a:pt x="156" y="0"/>
                  </a:ln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îşļîdè"/>
            <p:cNvSpPr/>
            <p:nvPr/>
          </p:nvSpPr>
          <p:spPr bwMode="auto">
            <a:xfrm>
              <a:off x="4749800" y="2117725"/>
              <a:ext cx="1076325" cy="962025"/>
            </a:xfrm>
            <a:custGeom>
              <a:avLst/>
              <a:gdLst>
                <a:gd name="T0" fmla="*/ 184 w 282"/>
                <a:gd name="T1" fmla="*/ 0 h 252"/>
                <a:gd name="T2" fmla="*/ 13 w 282"/>
                <a:gd name="T3" fmla="*/ 113 h 252"/>
                <a:gd name="T4" fmla="*/ 45 w 282"/>
                <a:gd name="T5" fmla="*/ 229 h 252"/>
                <a:gd name="T6" fmla="*/ 53 w 282"/>
                <a:gd name="T7" fmla="*/ 224 h 252"/>
                <a:gd name="T8" fmla="*/ 51 w 282"/>
                <a:gd name="T9" fmla="*/ 244 h 252"/>
                <a:gd name="T10" fmla="*/ 192 w 282"/>
                <a:gd name="T11" fmla="*/ 247 h 252"/>
                <a:gd name="T12" fmla="*/ 235 w 282"/>
                <a:gd name="T13" fmla="*/ 100 h 252"/>
                <a:gd name="T14" fmla="*/ 280 w 282"/>
                <a:gd name="T15" fmla="*/ 121 h 252"/>
                <a:gd name="T16" fmla="*/ 282 w 282"/>
                <a:gd name="T17" fmla="*/ 76 h 252"/>
                <a:gd name="T18" fmla="*/ 184 w 282"/>
                <a:gd name="T19" fmla="*/ 0 h 252"/>
                <a:gd name="T20" fmla="*/ 48 w 282"/>
                <a:gd name="T21" fmla="*/ 134 h 252"/>
                <a:gd name="T22" fmla="*/ 72 w 282"/>
                <a:gd name="T23" fmla="*/ 98 h 252"/>
                <a:gd name="T24" fmla="*/ 57 w 282"/>
                <a:gd name="T25" fmla="*/ 184 h 252"/>
                <a:gd name="T26" fmla="*/ 48 w 282"/>
                <a:gd name="T27" fmla="*/ 13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52">
                  <a:moveTo>
                    <a:pt x="184" y="0"/>
                  </a:moveTo>
                  <a:cubicBezTo>
                    <a:pt x="104" y="0"/>
                    <a:pt x="32" y="51"/>
                    <a:pt x="13" y="113"/>
                  </a:cubicBezTo>
                  <a:cubicBezTo>
                    <a:pt x="0" y="155"/>
                    <a:pt x="34" y="212"/>
                    <a:pt x="45" y="229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2" y="230"/>
                    <a:pt x="51" y="237"/>
                    <a:pt x="51" y="244"/>
                  </a:cubicBezTo>
                  <a:cubicBezTo>
                    <a:pt x="86" y="252"/>
                    <a:pt x="192" y="247"/>
                    <a:pt x="192" y="247"/>
                  </a:cubicBezTo>
                  <a:cubicBezTo>
                    <a:pt x="201" y="164"/>
                    <a:pt x="224" y="98"/>
                    <a:pt x="235" y="100"/>
                  </a:cubicBezTo>
                  <a:cubicBezTo>
                    <a:pt x="245" y="103"/>
                    <a:pt x="280" y="121"/>
                    <a:pt x="280" y="121"/>
                  </a:cubicBezTo>
                  <a:cubicBezTo>
                    <a:pt x="282" y="76"/>
                    <a:pt x="282" y="76"/>
                    <a:pt x="282" y="76"/>
                  </a:cubicBezTo>
                  <a:cubicBezTo>
                    <a:pt x="282" y="76"/>
                    <a:pt x="242" y="0"/>
                    <a:pt x="184" y="0"/>
                  </a:cubicBezTo>
                  <a:close/>
                  <a:moveTo>
                    <a:pt x="48" y="134"/>
                  </a:moveTo>
                  <a:cubicBezTo>
                    <a:pt x="51" y="123"/>
                    <a:pt x="60" y="106"/>
                    <a:pt x="72" y="98"/>
                  </a:cubicBezTo>
                  <a:cubicBezTo>
                    <a:pt x="65" y="126"/>
                    <a:pt x="60" y="155"/>
                    <a:pt x="57" y="184"/>
                  </a:cubicBezTo>
                  <a:cubicBezTo>
                    <a:pt x="50" y="165"/>
                    <a:pt x="45" y="148"/>
                    <a:pt x="48" y="134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ïṣľíḑe"/>
            <p:cNvSpPr/>
            <p:nvPr/>
          </p:nvSpPr>
          <p:spPr bwMode="auto">
            <a:xfrm>
              <a:off x="4929188" y="2930525"/>
              <a:ext cx="152400" cy="152400"/>
            </a:xfrm>
            <a:custGeom>
              <a:avLst/>
              <a:gdLst>
                <a:gd name="T0" fmla="*/ 19 w 40"/>
                <a:gd name="T1" fmla="*/ 0 h 40"/>
                <a:gd name="T2" fmla="*/ 34 w 40"/>
                <a:gd name="T3" fmla="*/ 31 h 40"/>
                <a:gd name="T4" fmla="*/ 0 w 40"/>
                <a:gd name="T5" fmla="*/ 14 h 40"/>
                <a:gd name="T6" fmla="*/ 19 w 40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0">
                  <a:moveTo>
                    <a:pt x="19" y="0"/>
                  </a:moveTo>
                  <a:cubicBezTo>
                    <a:pt x="19" y="0"/>
                    <a:pt x="40" y="22"/>
                    <a:pt x="34" y="31"/>
                  </a:cubicBezTo>
                  <a:cubicBezTo>
                    <a:pt x="29" y="40"/>
                    <a:pt x="0" y="14"/>
                    <a:pt x="0" y="14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íṧļïďé"/>
            <p:cNvSpPr/>
            <p:nvPr/>
          </p:nvSpPr>
          <p:spPr bwMode="auto">
            <a:xfrm>
              <a:off x="5326063" y="1916113"/>
              <a:ext cx="385763" cy="404813"/>
            </a:xfrm>
            <a:custGeom>
              <a:avLst/>
              <a:gdLst>
                <a:gd name="T0" fmla="*/ 101 w 101"/>
                <a:gd name="T1" fmla="*/ 0 h 106"/>
                <a:gd name="T2" fmla="*/ 77 w 101"/>
                <a:gd name="T3" fmla="*/ 81 h 106"/>
                <a:gd name="T4" fmla="*/ 48 w 101"/>
                <a:gd name="T5" fmla="*/ 80 h 106"/>
                <a:gd name="T6" fmla="*/ 35 w 101"/>
                <a:gd name="T7" fmla="*/ 98 h 106"/>
                <a:gd name="T8" fmla="*/ 0 w 101"/>
                <a:gd name="T9" fmla="*/ 94 h 106"/>
                <a:gd name="T10" fmla="*/ 17 w 101"/>
                <a:gd name="T11" fmla="*/ 0 h 106"/>
                <a:gd name="T12" fmla="*/ 101 w 101"/>
                <a:gd name="T1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06">
                  <a:moveTo>
                    <a:pt x="101" y="0"/>
                  </a:moveTo>
                  <a:cubicBezTo>
                    <a:pt x="101" y="0"/>
                    <a:pt x="98" y="77"/>
                    <a:pt x="77" y="81"/>
                  </a:cubicBezTo>
                  <a:cubicBezTo>
                    <a:pt x="56" y="84"/>
                    <a:pt x="56" y="80"/>
                    <a:pt x="48" y="80"/>
                  </a:cubicBezTo>
                  <a:cubicBezTo>
                    <a:pt x="39" y="80"/>
                    <a:pt x="35" y="98"/>
                    <a:pt x="35" y="98"/>
                  </a:cubicBezTo>
                  <a:cubicBezTo>
                    <a:pt x="35" y="98"/>
                    <a:pt x="16" y="106"/>
                    <a:pt x="0" y="94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ïṡľíḋè"/>
            <p:cNvSpPr/>
            <p:nvPr/>
          </p:nvSpPr>
          <p:spPr bwMode="auto">
            <a:xfrm>
              <a:off x="5307013" y="1984375"/>
              <a:ext cx="92075" cy="130175"/>
            </a:xfrm>
            <a:custGeom>
              <a:avLst/>
              <a:gdLst>
                <a:gd name="T0" fmla="*/ 24 w 24"/>
                <a:gd name="T1" fmla="*/ 14 h 34"/>
                <a:gd name="T2" fmla="*/ 11 w 24"/>
                <a:gd name="T3" fmla="*/ 3 h 34"/>
                <a:gd name="T4" fmla="*/ 15 w 24"/>
                <a:gd name="T5" fmla="*/ 33 h 34"/>
                <a:gd name="T6" fmla="*/ 24 w 24"/>
                <a:gd name="T7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4">
                  <a:moveTo>
                    <a:pt x="24" y="14"/>
                  </a:moveTo>
                  <a:cubicBezTo>
                    <a:pt x="24" y="14"/>
                    <a:pt x="21" y="0"/>
                    <a:pt x="11" y="3"/>
                  </a:cubicBezTo>
                  <a:cubicBezTo>
                    <a:pt x="0" y="6"/>
                    <a:pt x="3" y="34"/>
                    <a:pt x="15" y="33"/>
                  </a:cubicBezTo>
                  <a:lnTo>
                    <a:pt x="2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íśḷïḓê"/>
            <p:cNvSpPr/>
            <p:nvPr/>
          </p:nvSpPr>
          <p:spPr bwMode="auto">
            <a:xfrm>
              <a:off x="5345113" y="1747838"/>
              <a:ext cx="431800" cy="350838"/>
            </a:xfrm>
            <a:custGeom>
              <a:avLst/>
              <a:gdLst>
                <a:gd name="T0" fmla="*/ 0 w 113"/>
                <a:gd name="T1" fmla="*/ 65 h 92"/>
                <a:gd name="T2" fmla="*/ 7 w 113"/>
                <a:gd name="T3" fmla="*/ 33 h 92"/>
                <a:gd name="T4" fmla="*/ 54 w 113"/>
                <a:gd name="T5" fmla="*/ 5 h 92"/>
                <a:gd name="T6" fmla="*/ 49 w 113"/>
                <a:gd name="T7" fmla="*/ 17 h 92"/>
                <a:gd name="T8" fmla="*/ 97 w 113"/>
                <a:gd name="T9" fmla="*/ 0 h 92"/>
                <a:gd name="T10" fmla="*/ 88 w 113"/>
                <a:gd name="T11" fmla="*/ 19 h 92"/>
                <a:gd name="T12" fmla="*/ 113 w 113"/>
                <a:gd name="T13" fmla="*/ 12 h 92"/>
                <a:gd name="T14" fmla="*/ 95 w 113"/>
                <a:gd name="T15" fmla="*/ 59 h 92"/>
                <a:gd name="T16" fmla="*/ 59 w 113"/>
                <a:gd name="T17" fmla="*/ 59 h 92"/>
                <a:gd name="T18" fmla="*/ 31 w 113"/>
                <a:gd name="T19" fmla="*/ 63 h 92"/>
                <a:gd name="T20" fmla="*/ 20 w 113"/>
                <a:gd name="T21" fmla="*/ 75 h 92"/>
                <a:gd name="T22" fmla="*/ 15 w 113"/>
                <a:gd name="T23" fmla="*/ 92 h 92"/>
                <a:gd name="T24" fmla="*/ 8 w 113"/>
                <a:gd name="T25" fmla="*/ 92 h 92"/>
                <a:gd name="T26" fmla="*/ 11 w 113"/>
                <a:gd name="T27" fmla="*/ 74 h 92"/>
                <a:gd name="T28" fmla="*/ 0 w 113"/>
                <a:gd name="T29" fmla="*/ 6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92">
                  <a:moveTo>
                    <a:pt x="0" y="65"/>
                  </a:moveTo>
                  <a:cubicBezTo>
                    <a:pt x="0" y="65"/>
                    <a:pt x="6" y="39"/>
                    <a:pt x="7" y="33"/>
                  </a:cubicBezTo>
                  <a:cubicBezTo>
                    <a:pt x="7" y="27"/>
                    <a:pt x="35" y="15"/>
                    <a:pt x="54" y="5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60" y="5"/>
                    <a:pt x="97" y="0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3" y="12"/>
                    <a:pt x="104" y="45"/>
                    <a:pt x="95" y="59"/>
                  </a:cubicBezTo>
                  <a:cubicBezTo>
                    <a:pt x="95" y="59"/>
                    <a:pt x="75" y="62"/>
                    <a:pt x="59" y="59"/>
                  </a:cubicBezTo>
                  <a:cubicBezTo>
                    <a:pt x="42" y="56"/>
                    <a:pt x="35" y="54"/>
                    <a:pt x="31" y="63"/>
                  </a:cubicBezTo>
                  <a:cubicBezTo>
                    <a:pt x="28" y="72"/>
                    <a:pt x="21" y="71"/>
                    <a:pt x="20" y="75"/>
                  </a:cubicBezTo>
                  <a:cubicBezTo>
                    <a:pt x="19" y="78"/>
                    <a:pt x="15" y="92"/>
                    <a:pt x="15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10" y="78"/>
                    <a:pt x="11" y="74"/>
                  </a:cubicBezTo>
                  <a:cubicBezTo>
                    <a:pt x="11" y="69"/>
                    <a:pt x="9" y="64"/>
                    <a:pt x="0" y="65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ïSḷíḍé"/>
            <p:cNvSpPr/>
            <p:nvPr/>
          </p:nvSpPr>
          <p:spPr bwMode="auto">
            <a:xfrm>
              <a:off x="8980488" y="5419725"/>
              <a:ext cx="141288" cy="136525"/>
            </a:xfrm>
            <a:custGeom>
              <a:avLst/>
              <a:gdLst>
                <a:gd name="T0" fmla="*/ 80 w 89"/>
                <a:gd name="T1" fmla="*/ 16 h 86"/>
                <a:gd name="T2" fmla="*/ 89 w 89"/>
                <a:gd name="T3" fmla="*/ 86 h 86"/>
                <a:gd name="T4" fmla="*/ 20 w 89"/>
                <a:gd name="T5" fmla="*/ 86 h 86"/>
                <a:gd name="T6" fmla="*/ 0 w 89"/>
                <a:gd name="T7" fmla="*/ 0 h 86"/>
                <a:gd name="T8" fmla="*/ 80 w 89"/>
                <a:gd name="T9" fmla="*/ 1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6">
                  <a:moveTo>
                    <a:pt x="80" y="16"/>
                  </a:moveTo>
                  <a:lnTo>
                    <a:pt x="89" y="86"/>
                  </a:lnTo>
                  <a:lnTo>
                    <a:pt x="20" y="86"/>
                  </a:lnTo>
                  <a:lnTo>
                    <a:pt x="0" y="0"/>
                  </a:lnTo>
                  <a:lnTo>
                    <a:pt x="8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îšliďe"/>
            <p:cNvSpPr/>
            <p:nvPr/>
          </p:nvSpPr>
          <p:spPr bwMode="auto">
            <a:xfrm>
              <a:off x="8797925" y="5518150"/>
              <a:ext cx="328613" cy="95250"/>
            </a:xfrm>
            <a:custGeom>
              <a:avLst/>
              <a:gdLst>
                <a:gd name="T0" fmla="*/ 86 w 86"/>
                <a:gd name="T1" fmla="*/ 7 h 25"/>
                <a:gd name="T2" fmla="*/ 79 w 86"/>
                <a:gd name="T3" fmla="*/ 0 h 25"/>
                <a:gd name="T4" fmla="*/ 34 w 86"/>
                <a:gd name="T5" fmla="*/ 0 h 25"/>
                <a:gd name="T6" fmla="*/ 2 w 86"/>
                <a:gd name="T7" fmla="*/ 17 h 25"/>
                <a:gd name="T8" fmla="*/ 8 w 86"/>
                <a:gd name="T9" fmla="*/ 25 h 25"/>
                <a:gd name="T10" fmla="*/ 79 w 86"/>
                <a:gd name="T11" fmla="*/ 25 h 25"/>
                <a:gd name="T12" fmla="*/ 85 w 86"/>
                <a:gd name="T13" fmla="*/ 19 h 25"/>
                <a:gd name="T14" fmla="*/ 86 w 86"/>
                <a:gd name="T1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25">
                  <a:moveTo>
                    <a:pt x="86" y="7"/>
                  </a:moveTo>
                  <a:cubicBezTo>
                    <a:pt x="86" y="3"/>
                    <a:pt x="83" y="0"/>
                    <a:pt x="7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7" y="6"/>
                    <a:pt x="2" y="17"/>
                  </a:cubicBezTo>
                  <a:cubicBezTo>
                    <a:pt x="0" y="21"/>
                    <a:pt x="3" y="25"/>
                    <a:pt x="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25"/>
                    <a:pt x="85" y="23"/>
                    <a:pt x="85" y="19"/>
                  </a:cubicBezTo>
                  <a:lnTo>
                    <a:pt x="86" y="7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îŝļidè"/>
            <p:cNvSpPr/>
            <p:nvPr/>
          </p:nvSpPr>
          <p:spPr bwMode="auto">
            <a:xfrm>
              <a:off x="8801100" y="5586413"/>
              <a:ext cx="320675" cy="26988"/>
            </a:xfrm>
            <a:custGeom>
              <a:avLst/>
              <a:gdLst>
                <a:gd name="T0" fmla="*/ 84 w 84"/>
                <a:gd name="T1" fmla="*/ 1 h 7"/>
                <a:gd name="T2" fmla="*/ 78 w 84"/>
                <a:gd name="T3" fmla="*/ 7 h 7"/>
                <a:gd name="T4" fmla="*/ 7 w 84"/>
                <a:gd name="T5" fmla="*/ 7 h 7"/>
                <a:gd name="T6" fmla="*/ 1 w 84"/>
                <a:gd name="T7" fmla="*/ 0 h 7"/>
                <a:gd name="T8" fmla="*/ 84 w 84"/>
                <a:gd name="T9" fmla="*/ 0 h 7"/>
                <a:gd name="T10" fmla="*/ 84 w 84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7">
                  <a:moveTo>
                    <a:pt x="84" y="1"/>
                  </a:moveTo>
                  <a:cubicBezTo>
                    <a:pt x="84" y="5"/>
                    <a:pt x="82" y="7"/>
                    <a:pt x="7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3" y="7"/>
                    <a:pt x="0" y="4"/>
                    <a:pt x="1" y="0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84" y="1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ïśļidè"/>
            <p:cNvSpPr/>
            <p:nvPr/>
          </p:nvSpPr>
          <p:spPr bwMode="auto">
            <a:xfrm>
              <a:off x="8974138" y="5503863"/>
              <a:ext cx="22225" cy="60325"/>
            </a:xfrm>
            <a:custGeom>
              <a:avLst/>
              <a:gdLst>
                <a:gd name="T0" fmla="*/ 3 w 6"/>
                <a:gd name="T1" fmla="*/ 16 h 16"/>
                <a:gd name="T2" fmla="*/ 6 w 6"/>
                <a:gd name="T3" fmla="*/ 13 h 16"/>
                <a:gd name="T4" fmla="*/ 6 w 6"/>
                <a:gd name="T5" fmla="*/ 3 h 16"/>
                <a:gd name="T6" fmla="*/ 3 w 6"/>
                <a:gd name="T7" fmla="*/ 0 h 16"/>
                <a:gd name="T8" fmla="*/ 0 w 6"/>
                <a:gd name="T9" fmla="*/ 3 h 16"/>
                <a:gd name="T10" fmla="*/ 0 w 6"/>
                <a:gd name="T11" fmla="*/ 13 h 16"/>
                <a:gd name="T12" fmla="*/ 3 w 6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">
                  <a:moveTo>
                    <a:pt x="3" y="16"/>
                  </a:moveTo>
                  <a:cubicBezTo>
                    <a:pt x="4" y="16"/>
                    <a:pt x="6" y="15"/>
                    <a:pt x="6" y="1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2" y="16"/>
                    <a:pt x="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iśḷidê"/>
            <p:cNvSpPr/>
            <p:nvPr/>
          </p:nvSpPr>
          <p:spPr bwMode="auto">
            <a:xfrm>
              <a:off x="8934450" y="5503863"/>
              <a:ext cx="20638" cy="60325"/>
            </a:xfrm>
            <a:custGeom>
              <a:avLst/>
              <a:gdLst>
                <a:gd name="T0" fmla="*/ 2 w 5"/>
                <a:gd name="T1" fmla="*/ 16 h 16"/>
                <a:gd name="T2" fmla="*/ 5 w 5"/>
                <a:gd name="T3" fmla="*/ 13 h 16"/>
                <a:gd name="T4" fmla="*/ 5 w 5"/>
                <a:gd name="T5" fmla="*/ 3 h 16"/>
                <a:gd name="T6" fmla="*/ 2 w 5"/>
                <a:gd name="T7" fmla="*/ 0 h 16"/>
                <a:gd name="T8" fmla="*/ 0 w 5"/>
                <a:gd name="T9" fmla="*/ 3 h 16"/>
                <a:gd name="T10" fmla="*/ 0 w 5"/>
                <a:gd name="T11" fmla="*/ 13 h 16"/>
                <a:gd name="T12" fmla="*/ 2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2" y="16"/>
                  </a:moveTo>
                  <a:cubicBezTo>
                    <a:pt x="4" y="16"/>
                    <a:pt x="5" y="15"/>
                    <a:pt x="5" y="1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1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îşḻîḑè"/>
            <p:cNvSpPr/>
            <p:nvPr/>
          </p:nvSpPr>
          <p:spPr bwMode="auto">
            <a:xfrm>
              <a:off x="8289925" y="5419725"/>
              <a:ext cx="119063" cy="136525"/>
            </a:xfrm>
            <a:custGeom>
              <a:avLst/>
              <a:gdLst>
                <a:gd name="T0" fmla="*/ 75 w 75"/>
                <a:gd name="T1" fmla="*/ 4 h 86"/>
                <a:gd name="T2" fmla="*/ 70 w 75"/>
                <a:gd name="T3" fmla="*/ 86 h 86"/>
                <a:gd name="T4" fmla="*/ 0 w 75"/>
                <a:gd name="T5" fmla="*/ 86 h 86"/>
                <a:gd name="T6" fmla="*/ 7 w 75"/>
                <a:gd name="T7" fmla="*/ 0 h 86"/>
                <a:gd name="T8" fmla="*/ 75 w 75"/>
                <a:gd name="T9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6">
                  <a:moveTo>
                    <a:pt x="75" y="4"/>
                  </a:moveTo>
                  <a:lnTo>
                    <a:pt x="70" y="86"/>
                  </a:lnTo>
                  <a:lnTo>
                    <a:pt x="0" y="86"/>
                  </a:lnTo>
                  <a:lnTo>
                    <a:pt x="7" y="0"/>
                  </a:lnTo>
                  <a:lnTo>
                    <a:pt x="75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íšľïḋe"/>
            <p:cNvSpPr/>
            <p:nvPr/>
          </p:nvSpPr>
          <p:spPr bwMode="auto">
            <a:xfrm>
              <a:off x="8094663" y="5518150"/>
              <a:ext cx="325438" cy="95250"/>
            </a:xfrm>
            <a:custGeom>
              <a:avLst/>
              <a:gdLst>
                <a:gd name="T0" fmla="*/ 85 w 85"/>
                <a:gd name="T1" fmla="*/ 7 h 25"/>
                <a:gd name="T2" fmla="*/ 79 w 85"/>
                <a:gd name="T3" fmla="*/ 0 h 25"/>
                <a:gd name="T4" fmla="*/ 34 w 85"/>
                <a:gd name="T5" fmla="*/ 0 h 25"/>
                <a:gd name="T6" fmla="*/ 2 w 85"/>
                <a:gd name="T7" fmla="*/ 17 h 25"/>
                <a:gd name="T8" fmla="*/ 8 w 85"/>
                <a:gd name="T9" fmla="*/ 25 h 25"/>
                <a:gd name="T10" fmla="*/ 79 w 85"/>
                <a:gd name="T11" fmla="*/ 25 h 25"/>
                <a:gd name="T12" fmla="*/ 85 w 85"/>
                <a:gd name="T13" fmla="*/ 19 h 25"/>
                <a:gd name="T14" fmla="*/ 85 w 85"/>
                <a:gd name="T1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25">
                  <a:moveTo>
                    <a:pt x="85" y="7"/>
                  </a:moveTo>
                  <a:cubicBezTo>
                    <a:pt x="85" y="3"/>
                    <a:pt x="83" y="0"/>
                    <a:pt x="7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7" y="6"/>
                    <a:pt x="2" y="17"/>
                  </a:cubicBezTo>
                  <a:cubicBezTo>
                    <a:pt x="0" y="21"/>
                    <a:pt x="3" y="25"/>
                    <a:pt x="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25"/>
                    <a:pt x="85" y="23"/>
                    <a:pt x="85" y="19"/>
                  </a:cubicBezTo>
                  <a:lnTo>
                    <a:pt x="85" y="7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íṥļíḑè"/>
            <p:cNvSpPr/>
            <p:nvPr/>
          </p:nvSpPr>
          <p:spPr bwMode="auto">
            <a:xfrm>
              <a:off x="8099425" y="5586413"/>
              <a:ext cx="320675" cy="26988"/>
            </a:xfrm>
            <a:custGeom>
              <a:avLst/>
              <a:gdLst>
                <a:gd name="T0" fmla="*/ 84 w 84"/>
                <a:gd name="T1" fmla="*/ 1 h 7"/>
                <a:gd name="T2" fmla="*/ 78 w 84"/>
                <a:gd name="T3" fmla="*/ 7 h 7"/>
                <a:gd name="T4" fmla="*/ 7 w 84"/>
                <a:gd name="T5" fmla="*/ 7 h 7"/>
                <a:gd name="T6" fmla="*/ 0 w 84"/>
                <a:gd name="T7" fmla="*/ 0 h 7"/>
                <a:gd name="T8" fmla="*/ 84 w 84"/>
                <a:gd name="T9" fmla="*/ 0 h 7"/>
                <a:gd name="T10" fmla="*/ 84 w 84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7">
                  <a:moveTo>
                    <a:pt x="84" y="1"/>
                  </a:moveTo>
                  <a:cubicBezTo>
                    <a:pt x="84" y="5"/>
                    <a:pt x="81" y="7"/>
                    <a:pt x="7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3" y="7"/>
                    <a:pt x="0" y="4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84" y="1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ïs1ídé"/>
            <p:cNvSpPr/>
            <p:nvPr/>
          </p:nvSpPr>
          <p:spPr bwMode="auto">
            <a:xfrm>
              <a:off x="8270875" y="5503863"/>
              <a:ext cx="19050" cy="60325"/>
            </a:xfrm>
            <a:custGeom>
              <a:avLst/>
              <a:gdLst>
                <a:gd name="T0" fmla="*/ 3 w 5"/>
                <a:gd name="T1" fmla="*/ 16 h 16"/>
                <a:gd name="T2" fmla="*/ 5 w 5"/>
                <a:gd name="T3" fmla="*/ 13 h 16"/>
                <a:gd name="T4" fmla="*/ 5 w 5"/>
                <a:gd name="T5" fmla="*/ 3 h 16"/>
                <a:gd name="T6" fmla="*/ 3 w 5"/>
                <a:gd name="T7" fmla="*/ 0 h 16"/>
                <a:gd name="T8" fmla="*/ 0 w 5"/>
                <a:gd name="T9" fmla="*/ 3 h 16"/>
                <a:gd name="T10" fmla="*/ 0 w 5"/>
                <a:gd name="T11" fmla="*/ 13 h 16"/>
                <a:gd name="T12" fmla="*/ 3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3" y="16"/>
                  </a:moveTo>
                  <a:cubicBezTo>
                    <a:pt x="4" y="16"/>
                    <a:pt x="5" y="15"/>
                    <a:pt x="5" y="1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1" y="16"/>
                    <a:pt x="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iṧ1íḍe"/>
            <p:cNvSpPr/>
            <p:nvPr/>
          </p:nvSpPr>
          <p:spPr bwMode="auto">
            <a:xfrm>
              <a:off x="8232775" y="5503863"/>
              <a:ext cx="19050" cy="60325"/>
            </a:xfrm>
            <a:custGeom>
              <a:avLst/>
              <a:gdLst>
                <a:gd name="T0" fmla="*/ 2 w 5"/>
                <a:gd name="T1" fmla="*/ 16 h 16"/>
                <a:gd name="T2" fmla="*/ 5 w 5"/>
                <a:gd name="T3" fmla="*/ 13 h 16"/>
                <a:gd name="T4" fmla="*/ 5 w 5"/>
                <a:gd name="T5" fmla="*/ 3 h 16"/>
                <a:gd name="T6" fmla="*/ 2 w 5"/>
                <a:gd name="T7" fmla="*/ 0 h 16"/>
                <a:gd name="T8" fmla="*/ 0 w 5"/>
                <a:gd name="T9" fmla="*/ 3 h 16"/>
                <a:gd name="T10" fmla="*/ 0 w 5"/>
                <a:gd name="T11" fmla="*/ 13 h 16"/>
                <a:gd name="T12" fmla="*/ 2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2" y="16"/>
                  </a:moveTo>
                  <a:cubicBezTo>
                    <a:pt x="4" y="16"/>
                    <a:pt x="5" y="15"/>
                    <a:pt x="5" y="1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1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ïṩḷíḑê"/>
            <p:cNvSpPr/>
            <p:nvPr/>
          </p:nvSpPr>
          <p:spPr bwMode="auto">
            <a:xfrm>
              <a:off x="4830763" y="4037013"/>
              <a:ext cx="255588" cy="115888"/>
            </a:xfrm>
            <a:custGeom>
              <a:avLst/>
              <a:gdLst>
                <a:gd name="T0" fmla="*/ 7 w 67"/>
                <a:gd name="T1" fmla="*/ 0 h 30"/>
                <a:gd name="T2" fmla="*/ 47 w 67"/>
                <a:gd name="T3" fmla="*/ 11 h 30"/>
                <a:gd name="T4" fmla="*/ 36 w 67"/>
                <a:gd name="T5" fmla="*/ 28 h 30"/>
                <a:gd name="T6" fmla="*/ 0 w 67"/>
                <a:gd name="T7" fmla="*/ 19 h 30"/>
                <a:gd name="T8" fmla="*/ 7 w 67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0">
                  <a:moveTo>
                    <a:pt x="7" y="0"/>
                  </a:moveTo>
                  <a:cubicBezTo>
                    <a:pt x="7" y="0"/>
                    <a:pt x="25" y="9"/>
                    <a:pt x="47" y="11"/>
                  </a:cubicBezTo>
                  <a:cubicBezTo>
                    <a:pt x="67" y="13"/>
                    <a:pt x="51" y="30"/>
                    <a:pt x="36" y="28"/>
                  </a:cubicBezTo>
                  <a:cubicBezTo>
                    <a:pt x="25" y="26"/>
                    <a:pt x="0" y="19"/>
                    <a:pt x="0" y="19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FC99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iSliḓe"/>
            <p:cNvSpPr/>
            <p:nvPr/>
          </p:nvSpPr>
          <p:spPr bwMode="auto">
            <a:xfrm>
              <a:off x="4856163" y="4110038"/>
              <a:ext cx="249238" cy="87313"/>
            </a:xfrm>
            <a:custGeom>
              <a:avLst/>
              <a:gdLst>
                <a:gd name="T0" fmla="*/ 4 w 65"/>
                <a:gd name="T1" fmla="*/ 0 h 23"/>
                <a:gd name="T2" fmla="*/ 45 w 65"/>
                <a:gd name="T3" fmla="*/ 4 h 23"/>
                <a:gd name="T4" fmla="*/ 38 w 65"/>
                <a:gd name="T5" fmla="*/ 22 h 23"/>
                <a:gd name="T6" fmla="*/ 0 w 65"/>
                <a:gd name="T7" fmla="*/ 20 h 23"/>
                <a:gd name="T8" fmla="*/ 4 w 65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23">
                  <a:moveTo>
                    <a:pt x="4" y="0"/>
                  </a:moveTo>
                  <a:cubicBezTo>
                    <a:pt x="4" y="0"/>
                    <a:pt x="23" y="6"/>
                    <a:pt x="45" y="4"/>
                  </a:cubicBezTo>
                  <a:cubicBezTo>
                    <a:pt x="65" y="3"/>
                    <a:pt x="53" y="22"/>
                    <a:pt x="38" y="22"/>
                  </a:cubicBezTo>
                  <a:cubicBezTo>
                    <a:pt x="26" y="23"/>
                    <a:pt x="0" y="20"/>
                    <a:pt x="0" y="2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ïS1îďè"/>
            <p:cNvSpPr/>
            <p:nvPr/>
          </p:nvSpPr>
          <p:spPr bwMode="auto">
            <a:xfrm>
              <a:off x="4162425" y="3449638"/>
              <a:ext cx="750888" cy="695325"/>
            </a:xfrm>
            <a:custGeom>
              <a:avLst/>
              <a:gdLst>
                <a:gd name="T0" fmla="*/ 36 w 197"/>
                <a:gd name="T1" fmla="*/ 0 h 182"/>
                <a:gd name="T2" fmla="*/ 197 w 197"/>
                <a:gd name="T3" fmla="*/ 155 h 182"/>
                <a:gd name="T4" fmla="*/ 187 w 197"/>
                <a:gd name="T5" fmla="*/ 182 h 182"/>
                <a:gd name="T6" fmla="*/ 48 w 197"/>
                <a:gd name="T7" fmla="*/ 115 h 182"/>
                <a:gd name="T8" fmla="*/ 3 w 197"/>
                <a:gd name="T9" fmla="*/ 10 h 182"/>
                <a:gd name="T10" fmla="*/ 36 w 197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" h="182">
                  <a:moveTo>
                    <a:pt x="36" y="0"/>
                  </a:moveTo>
                  <a:cubicBezTo>
                    <a:pt x="36" y="0"/>
                    <a:pt x="82" y="114"/>
                    <a:pt x="197" y="155"/>
                  </a:cubicBezTo>
                  <a:cubicBezTo>
                    <a:pt x="187" y="182"/>
                    <a:pt x="187" y="182"/>
                    <a:pt x="187" y="182"/>
                  </a:cubicBezTo>
                  <a:cubicBezTo>
                    <a:pt x="187" y="182"/>
                    <a:pt x="96" y="167"/>
                    <a:pt x="48" y="115"/>
                  </a:cubicBezTo>
                  <a:cubicBezTo>
                    <a:pt x="0" y="64"/>
                    <a:pt x="3" y="10"/>
                    <a:pt x="3" y="1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006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ïŝļíḍê"/>
            <p:cNvSpPr/>
            <p:nvPr/>
          </p:nvSpPr>
          <p:spPr bwMode="auto">
            <a:xfrm>
              <a:off x="3127375" y="5148263"/>
              <a:ext cx="174625" cy="125413"/>
            </a:xfrm>
            <a:custGeom>
              <a:avLst/>
              <a:gdLst>
                <a:gd name="T0" fmla="*/ 67 w 110"/>
                <a:gd name="T1" fmla="*/ 0 h 79"/>
                <a:gd name="T2" fmla="*/ 0 w 110"/>
                <a:gd name="T3" fmla="*/ 17 h 79"/>
                <a:gd name="T4" fmla="*/ 24 w 110"/>
                <a:gd name="T5" fmla="*/ 79 h 79"/>
                <a:gd name="T6" fmla="*/ 110 w 110"/>
                <a:gd name="T7" fmla="*/ 65 h 79"/>
                <a:gd name="T8" fmla="*/ 67 w 110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79">
                  <a:moveTo>
                    <a:pt x="67" y="0"/>
                  </a:moveTo>
                  <a:lnTo>
                    <a:pt x="0" y="17"/>
                  </a:lnTo>
                  <a:lnTo>
                    <a:pt x="24" y="79"/>
                  </a:lnTo>
                  <a:lnTo>
                    <a:pt x="110" y="6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î$ḻíḍé"/>
            <p:cNvSpPr/>
            <p:nvPr/>
          </p:nvSpPr>
          <p:spPr bwMode="auto">
            <a:xfrm>
              <a:off x="3057525" y="5148263"/>
              <a:ext cx="176213" cy="328613"/>
            </a:xfrm>
            <a:custGeom>
              <a:avLst/>
              <a:gdLst>
                <a:gd name="T0" fmla="*/ 16 w 46"/>
                <a:gd name="T1" fmla="*/ 2 h 86"/>
                <a:gd name="T2" fmla="*/ 24 w 46"/>
                <a:gd name="T3" fmla="*/ 5 h 86"/>
                <a:gd name="T4" fmla="*/ 41 w 46"/>
                <a:gd name="T5" fmla="*/ 47 h 86"/>
                <a:gd name="T6" fmla="*/ 37 w 46"/>
                <a:gd name="T7" fmla="*/ 83 h 86"/>
                <a:gd name="T8" fmla="*/ 27 w 46"/>
                <a:gd name="T9" fmla="*/ 81 h 86"/>
                <a:gd name="T10" fmla="*/ 1 w 46"/>
                <a:gd name="T11" fmla="*/ 15 h 86"/>
                <a:gd name="T12" fmla="*/ 4 w 46"/>
                <a:gd name="T13" fmla="*/ 6 h 86"/>
                <a:gd name="T14" fmla="*/ 16 w 46"/>
                <a:gd name="T15" fmla="*/ 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86">
                  <a:moveTo>
                    <a:pt x="16" y="2"/>
                  </a:moveTo>
                  <a:cubicBezTo>
                    <a:pt x="19" y="0"/>
                    <a:pt x="23" y="2"/>
                    <a:pt x="24" y="5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6" y="61"/>
                    <a:pt x="45" y="75"/>
                    <a:pt x="37" y="83"/>
                  </a:cubicBezTo>
                  <a:cubicBezTo>
                    <a:pt x="34" y="86"/>
                    <a:pt x="29" y="85"/>
                    <a:pt x="27" y="81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1"/>
                    <a:pt x="1" y="8"/>
                    <a:pt x="4" y="6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íşļíďé"/>
            <p:cNvSpPr/>
            <p:nvPr/>
          </p:nvSpPr>
          <p:spPr bwMode="auto">
            <a:xfrm>
              <a:off x="3057525" y="5170488"/>
              <a:ext cx="138113" cy="306388"/>
            </a:xfrm>
            <a:custGeom>
              <a:avLst/>
              <a:gdLst>
                <a:gd name="T0" fmla="*/ 4 w 36"/>
                <a:gd name="T1" fmla="*/ 0 h 80"/>
                <a:gd name="T2" fmla="*/ 1 w 36"/>
                <a:gd name="T3" fmla="*/ 9 h 80"/>
                <a:gd name="T4" fmla="*/ 27 w 36"/>
                <a:gd name="T5" fmla="*/ 75 h 80"/>
                <a:gd name="T6" fmla="*/ 36 w 36"/>
                <a:gd name="T7" fmla="*/ 78 h 80"/>
                <a:gd name="T8" fmla="*/ 5 w 36"/>
                <a:gd name="T9" fmla="*/ 0 h 80"/>
                <a:gd name="T10" fmla="*/ 4 w 36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0">
                  <a:moveTo>
                    <a:pt x="4" y="0"/>
                  </a:moveTo>
                  <a:cubicBezTo>
                    <a:pt x="1" y="2"/>
                    <a:pt x="0" y="5"/>
                    <a:pt x="1" y="9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8"/>
                    <a:pt x="33" y="80"/>
                    <a:pt x="36" y="7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íšḻîḋé"/>
            <p:cNvSpPr/>
            <p:nvPr/>
          </p:nvSpPr>
          <p:spPr bwMode="auto">
            <a:xfrm>
              <a:off x="3149600" y="5262563"/>
              <a:ext cx="61913" cy="38100"/>
            </a:xfrm>
            <a:custGeom>
              <a:avLst/>
              <a:gdLst>
                <a:gd name="T0" fmla="*/ 1 w 16"/>
                <a:gd name="T1" fmla="*/ 8 h 10"/>
                <a:gd name="T2" fmla="*/ 2 w 16"/>
                <a:gd name="T3" fmla="*/ 4 h 10"/>
                <a:gd name="T4" fmla="*/ 12 w 16"/>
                <a:gd name="T5" fmla="*/ 0 h 10"/>
                <a:gd name="T6" fmla="*/ 15 w 16"/>
                <a:gd name="T7" fmla="*/ 2 h 10"/>
                <a:gd name="T8" fmla="*/ 14 w 16"/>
                <a:gd name="T9" fmla="*/ 5 h 10"/>
                <a:gd name="T10" fmla="*/ 4 w 16"/>
                <a:gd name="T11" fmla="*/ 9 h 10"/>
                <a:gd name="T12" fmla="*/ 1 w 16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0">
                  <a:moveTo>
                    <a:pt x="1" y="8"/>
                  </a:moveTo>
                  <a:cubicBezTo>
                    <a:pt x="0" y="6"/>
                    <a:pt x="1" y="5"/>
                    <a:pt x="2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5" y="2"/>
                  </a:cubicBezTo>
                  <a:cubicBezTo>
                    <a:pt x="16" y="3"/>
                    <a:pt x="15" y="5"/>
                    <a:pt x="14" y="5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10"/>
                    <a:pt x="1" y="9"/>
                    <a:pt x="1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íṧľïḍe"/>
            <p:cNvSpPr/>
            <p:nvPr/>
          </p:nvSpPr>
          <p:spPr bwMode="auto">
            <a:xfrm>
              <a:off x="3165475" y="5300663"/>
              <a:ext cx="57150" cy="38100"/>
            </a:xfrm>
            <a:custGeom>
              <a:avLst/>
              <a:gdLst>
                <a:gd name="T0" fmla="*/ 0 w 15"/>
                <a:gd name="T1" fmla="*/ 7 h 10"/>
                <a:gd name="T2" fmla="*/ 2 w 15"/>
                <a:gd name="T3" fmla="*/ 4 h 10"/>
                <a:gd name="T4" fmla="*/ 11 w 15"/>
                <a:gd name="T5" fmla="*/ 0 h 10"/>
                <a:gd name="T6" fmla="*/ 15 w 15"/>
                <a:gd name="T7" fmla="*/ 2 h 10"/>
                <a:gd name="T8" fmla="*/ 13 w 15"/>
                <a:gd name="T9" fmla="*/ 5 h 10"/>
                <a:gd name="T10" fmla="*/ 4 w 15"/>
                <a:gd name="T11" fmla="*/ 9 h 10"/>
                <a:gd name="T12" fmla="*/ 0 w 15"/>
                <a:gd name="T1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7"/>
                  </a:moveTo>
                  <a:cubicBezTo>
                    <a:pt x="0" y="6"/>
                    <a:pt x="1" y="5"/>
                    <a:pt x="2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3" y="0"/>
                    <a:pt x="14" y="0"/>
                    <a:pt x="15" y="2"/>
                  </a:cubicBezTo>
                  <a:cubicBezTo>
                    <a:pt x="15" y="3"/>
                    <a:pt x="15" y="5"/>
                    <a:pt x="13" y="5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10"/>
                    <a:pt x="1" y="9"/>
                    <a:pt x="0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íṣḻîḓé"/>
            <p:cNvSpPr/>
            <p:nvPr/>
          </p:nvSpPr>
          <p:spPr bwMode="auto">
            <a:xfrm>
              <a:off x="4287838" y="5407025"/>
              <a:ext cx="138113" cy="138113"/>
            </a:xfrm>
            <a:custGeom>
              <a:avLst/>
              <a:gdLst>
                <a:gd name="T0" fmla="*/ 10 w 87"/>
                <a:gd name="T1" fmla="*/ 17 h 87"/>
                <a:gd name="T2" fmla="*/ 0 w 87"/>
                <a:gd name="T3" fmla="*/ 87 h 87"/>
                <a:gd name="T4" fmla="*/ 67 w 87"/>
                <a:gd name="T5" fmla="*/ 87 h 87"/>
                <a:gd name="T6" fmla="*/ 87 w 87"/>
                <a:gd name="T7" fmla="*/ 0 h 87"/>
                <a:gd name="T8" fmla="*/ 10 w 87"/>
                <a:gd name="T9" fmla="*/ 1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7">
                  <a:moveTo>
                    <a:pt x="10" y="17"/>
                  </a:moveTo>
                  <a:lnTo>
                    <a:pt x="0" y="87"/>
                  </a:lnTo>
                  <a:lnTo>
                    <a:pt x="67" y="87"/>
                  </a:lnTo>
                  <a:lnTo>
                    <a:pt x="87" y="0"/>
                  </a:lnTo>
                  <a:lnTo>
                    <a:pt x="10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íṣ1ïḓè"/>
            <p:cNvSpPr/>
            <p:nvPr/>
          </p:nvSpPr>
          <p:spPr bwMode="auto">
            <a:xfrm>
              <a:off x="3924300" y="4183063"/>
              <a:ext cx="661988" cy="1274763"/>
            </a:xfrm>
            <a:custGeom>
              <a:avLst/>
              <a:gdLst>
                <a:gd name="T0" fmla="*/ 124 w 173"/>
                <a:gd name="T1" fmla="*/ 0 h 334"/>
                <a:gd name="T2" fmla="*/ 168 w 173"/>
                <a:gd name="T3" fmla="*/ 168 h 334"/>
                <a:gd name="T4" fmla="*/ 131 w 173"/>
                <a:gd name="T5" fmla="*/ 334 h 334"/>
                <a:gd name="T6" fmla="*/ 94 w 173"/>
                <a:gd name="T7" fmla="*/ 334 h 334"/>
                <a:gd name="T8" fmla="*/ 111 w 173"/>
                <a:gd name="T9" fmla="*/ 202 h 334"/>
                <a:gd name="T10" fmla="*/ 0 w 173"/>
                <a:gd name="T11" fmla="*/ 9 h 334"/>
                <a:gd name="T12" fmla="*/ 124 w 173"/>
                <a:gd name="T13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334">
                  <a:moveTo>
                    <a:pt x="124" y="0"/>
                  </a:moveTo>
                  <a:cubicBezTo>
                    <a:pt x="124" y="0"/>
                    <a:pt x="164" y="118"/>
                    <a:pt x="168" y="168"/>
                  </a:cubicBezTo>
                  <a:cubicBezTo>
                    <a:pt x="173" y="220"/>
                    <a:pt x="131" y="334"/>
                    <a:pt x="131" y="334"/>
                  </a:cubicBezTo>
                  <a:cubicBezTo>
                    <a:pt x="94" y="334"/>
                    <a:pt x="94" y="334"/>
                    <a:pt x="94" y="334"/>
                  </a:cubicBezTo>
                  <a:cubicBezTo>
                    <a:pt x="94" y="334"/>
                    <a:pt x="105" y="252"/>
                    <a:pt x="111" y="202"/>
                  </a:cubicBezTo>
                  <a:cubicBezTo>
                    <a:pt x="116" y="152"/>
                    <a:pt x="0" y="9"/>
                    <a:pt x="0" y="9"/>
                  </a:cubicBezTo>
                  <a:lnTo>
                    <a:pt x="124" y="0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ïšḷíḓê"/>
            <p:cNvSpPr/>
            <p:nvPr/>
          </p:nvSpPr>
          <p:spPr bwMode="auto">
            <a:xfrm>
              <a:off x="3198813" y="4278313"/>
              <a:ext cx="1111250" cy="1008063"/>
            </a:xfrm>
            <a:custGeom>
              <a:avLst/>
              <a:gdLst>
                <a:gd name="T0" fmla="*/ 291 w 291"/>
                <a:gd name="T1" fmla="*/ 0 h 264"/>
                <a:gd name="T2" fmla="*/ 202 w 291"/>
                <a:gd name="T3" fmla="*/ 173 h 264"/>
                <a:gd name="T4" fmla="*/ 15 w 291"/>
                <a:gd name="T5" fmla="*/ 264 h 264"/>
                <a:gd name="T6" fmla="*/ 0 w 291"/>
                <a:gd name="T7" fmla="*/ 224 h 264"/>
                <a:gd name="T8" fmla="*/ 132 w 291"/>
                <a:gd name="T9" fmla="*/ 155 h 264"/>
                <a:gd name="T10" fmla="*/ 178 w 291"/>
                <a:gd name="T11" fmla="*/ 5 h 264"/>
                <a:gd name="T12" fmla="*/ 291 w 291"/>
                <a:gd name="T13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264">
                  <a:moveTo>
                    <a:pt x="291" y="0"/>
                  </a:moveTo>
                  <a:cubicBezTo>
                    <a:pt x="291" y="0"/>
                    <a:pt x="221" y="145"/>
                    <a:pt x="202" y="173"/>
                  </a:cubicBezTo>
                  <a:cubicBezTo>
                    <a:pt x="183" y="202"/>
                    <a:pt x="15" y="264"/>
                    <a:pt x="15" y="26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97" y="177"/>
                    <a:pt x="132" y="155"/>
                  </a:cubicBezTo>
                  <a:cubicBezTo>
                    <a:pt x="168" y="132"/>
                    <a:pt x="178" y="5"/>
                    <a:pt x="178" y="5"/>
                  </a:cubicBezTo>
                  <a:lnTo>
                    <a:pt x="291" y="0"/>
                  </a:ln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îṥ1íḋê"/>
            <p:cNvSpPr/>
            <p:nvPr/>
          </p:nvSpPr>
          <p:spPr bwMode="auto">
            <a:xfrm>
              <a:off x="4187825" y="2987675"/>
              <a:ext cx="398463" cy="350838"/>
            </a:xfrm>
            <a:custGeom>
              <a:avLst/>
              <a:gdLst>
                <a:gd name="T0" fmla="*/ 95 w 104"/>
                <a:gd name="T1" fmla="*/ 0 h 92"/>
                <a:gd name="T2" fmla="*/ 104 w 104"/>
                <a:gd name="T3" fmla="*/ 30 h 92"/>
                <a:gd name="T4" fmla="*/ 94 w 104"/>
                <a:gd name="T5" fmla="*/ 30 h 92"/>
                <a:gd name="T6" fmla="*/ 70 w 104"/>
                <a:gd name="T7" fmla="*/ 66 h 92"/>
                <a:gd name="T8" fmla="*/ 38 w 104"/>
                <a:gd name="T9" fmla="*/ 92 h 92"/>
                <a:gd name="T10" fmla="*/ 0 w 104"/>
                <a:gd name="T11" fmla="*/ 92 h 92"/>
                <a:gd name="T12" fmla="*/ 10 w 104"/>
                <a:gd name="T13" fmla="*/ 1 h 92"/>
                <a:gd name="T14" fmla="*/ 95 w 104"/>
                <a:gd name="T1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2">
                  <a:moveTo>
                    <a:pt x="95" y="0"/>
                  </a:moveTo>
                  <a:cubicBezTo>
                    <a:pt x="104" y="30"/>
                    <a:pt x="104" y="30"/>
                    <a:pt x="10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1" y="65"/>
                    <a:pt x="70" y="66"/>
                  </a:cubicBezTo>
                  <a:cubicBezTo>
                    <a:pt x="49" y="68"/>
                    <a:pt x="38" y="92"/>
                    <a:pt x="3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10" y="1"/>
                    <a:pt x="10" y="1"/>
                    <a:pt x="10" y="1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í$ľiďé"/>
            <p:cNvSpPr/>
            <p:nvPr/>
          </p:nvSpPr>
          <p:spPr bwMode="auto">
            <a:xfrm>
              <a:off x="4187825" y="2873375"/>
              <a:ext cx="439738" cy="339725"/>
            </a:xfrm>
            <a:custGeom>
              <a:avLst/>
              <a:gdLst>
                <a:gd name="T0" fmla="*/ 95 w 115"/>
                <a:gd name="T1" fmla="*/ 30 h 89"/>
                <a:gd name="T2" fmla="*/ 54 w 115"/>
                <a:gd name="T3" fmla="*/ 51 h 89"/>
                <a:gd name="T4" fmla="*/ 14 w 115"/>
                <a:gd name="T5" fmla="*/ 52 h 89"/>
                <a:gd name="T6" fmla="*/ 16 w 115"/>
                <a:gd name="T7" fmla="*/ 75 h 89"/>
                <a:gd name="T8" fmla="*/ 11 w 115"/>
                <a:gd name="T9" fmla="*/ 89 h 89"/>
                <a:gd name="T10" fmla="*/ 0 w 115"/>
                <a:gd name="T11" fmla="*/ 89 h 89"/>
                <a:gd name="T12" fmla="*/ 8 w 115"/>
                <a:gd name="T13" fmla="*/ 22 h 89"/>
                <a:gd name="T14" fmla="*/ 96 w 115"/>
                <a:gd name="T15" fmla="*/ 1 h 89"/>
                <a:gd name="T16" fmla="*/ 95 w 115"/>
                <a:gd name="T17" fmla="*/ 3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89">
                  <a:moveTo>
                    <a:pt x="95" y="30"/>
                  </a:moveTo>
                  <a:cubicBezTo>
                    <a:pt x="95" y="30"/>
                    <a:pt x="73" y="47"/>
                    <a:pt x="54" y="51"/>
                  </a:cubicBezTo>
                  <a:cubicBezTo>
                    <a:pt x="36" y="55"/>
                    <a:pt x="22" y="45"/>
                    <a:pt x="14" y="52"/>
                  </a:cubicBezTo>
                  <a:cubicBezTo>
                    <a:pt x="6" y="59"/>
                    <a:pt x="7" y="71"/>
                    <a:pt x="16" y="75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7" y="36"/>
                    <a:pt x="8" y="22"/>
                  </a:cubicBezTo>
                  <a:cubicBezTo>
                    <a:pt x="10" y="7"/>
                    <a:pt x="76" y="0"/>
                    <a:pt x="96" y="1"/>
                  </a:cubicBezTo>
                  <a:cubicBezTo>
                    <a:pt x="115" y="2"/>
                    <a:pt x="95" y="30"/>
                    <a:pt x="95" y="30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îṧḷïďé"/>
            <p:cNvSpPr/>
            <p:nvPr/>
          </p:nvSpPr>
          <p:spPr bwMode="auto">
            <a:xfrm>
              <a:off x="3829050" y="3338513"/>
              <a:ext cx="668338" cy="996950"/>
            </a:xfrm>
            <a:custGeom>
              <a:avLst/>
              <a:gdLst>
                <a:gd name="T0" fmla="*/ 94 w 175"/>
                <a:gd name="T1" fmla="*/ 0 h 261"/>
                <a:gd name="T2" fmla="*/ 57 w 175"/>
                <a:gd name="T3" fmla="*/ 39 h 261"/>
                <a:gd name="T4" fmla="*/ 0 w 175"/>
                <a:gd name="T5" fmla="*/ 261 h 261"/>
                <a:gd name="T6" fmla="*/ 175 w 175"/>
                <a:gd name="T7" fmla="*/ 261 h 261"/>
                <a:gd name="T8" fmla="*/ 157 w 175"/>
                <a:gd name="T9" fmla="*/ 90 h 261"/>
                <a:gd name="T10" fmla="*/ 132 w 175"/>
                <a:gd name="T11" fmla="*/ 0 h 261"/>
                <a:gd name="T12" fmla="*/ 94 w 175"/>
                <a:gd name="T1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261">
                  <a:moveTo>
                    <a:pt x="94" y="0"/>
                  </a:moveTo>
                  <a:cubicBezTo>
                    <a:pt x="94" y="0"/>
                    <a:pt x="78" y="6"/>
                    <a:pt x="57" y="39"/>
                  </a:cubicBezTo>
                  <a:cubicBezTo>
                    <a:pt x="36" y="72"/>
                    <a:pt x="0" y="261"/>
                    <a:pt x="0" y="261"/>
                  </a:cubicBezTo>
                  <a:cubicBezTo>
                    <a:pt x="175" y="261"/>
                    <a:pt x="175" y="261"/>
                    <a:pt x="175" y="261"/>
                  </a:cubicBezTo>
                  <a:cubicBezTo>
                    <a:pt x="175" y="261"/>
                    <a:pt x="165" y="151"/>
                    <a:pt x="157" y="90"/>
                  </a:cubicBezTo>
                  <a:cubicBezTo>
                    <a:pt x="149" y="29"/>
                    <a:pt x="132" y="0"/>
                    <a:pt x="132" y="0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ïṧlïďè"/>
            <p:cNvSpPr/>
            <p:nvPr/>
          </p:nvSpPr>
          <p:spPr bwMode="auto">
            <a:xfrm>
              <a:off x="4086225" y="3438525"/>
              <a:ext cx="854075" cy="766763"/>
            </a:xfrm>
            <a:custGeom>
              <a:avLst/>
              <a:gdLst>
                <a:gd name="T0" fmla="*/ 43 w 224"/>
                <a:gd name="T1" fmla="*/ 0 h 201"/>
                <a:gd name="T2" fmla="*/ 108 w 224"/>
                <a:gd name="T3" fmla="*/ 121 h 201"/>
                <a:gd name="T4" fmla="*/ 224 w 224"/>
                <a:gd name="T5" fmla="*/ 175 h 201"/>
                <a:gd name="T6" fmla="*/ 217 w 224"/>
                <a:gd name="T7" fmla="*/ 201 h 201"/>
                <a:gd name="T8" fmla="*/ 89 w 224"/>
                <a:gd name="T9" fmla="*/ 159 h 201"/>
                <a:gd name="T10" fmla="*/ 0 w 224"/>
                <a:gd name="T11" fmla="*/ 47 h 201"/>
                <a:gd name="T12" fmla="*/ 43 w 224"/>
                <a:gd name="T13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01">
                  <a:moveTo>
                    <a:pt x="43" y="0"/>
                  </a:moveTo>
                  <a:cubicBezTo>
                    <a:pt x="43" y="0"/>
                    <a:pt x="65" y="82"/>
                    <a:pt x="108" y="121"/>
                  </a:cubicBezTo>
                  <a:cubicBezTo>
                    <a:pt x="151" y="160"/>
                    <a:pt x="224" y="175"/>
                    <a:pt x="224" y="175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201"/>
                    <a:pt x="159" y="200"/>
                    <a:pt x="89" y="159"/>
                  </a:cubicBezTo>
                  <a:cubicBezTo>
                    <a:pt x="19" y="119"/>
                    <a:pt x="0" y="47"/>
                    <a:pt x="0" y="47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ṥlîḑè"/>
            <p:cNvSpPr/>
            <p:nvPr/>
          </p:nvSpPr>
          <p:spPr bwMode="auto">
            <a:xfrm>
              <a:off x="4086225" y="3617913"/>
              <a:ext cx="396875" cy="576263"/>
            </a:xfrm>
            <a:custGeom>
              <a:avLst/>
              <a:gdLst>
                <a:gd name="T0" fmla="*/ 101 w 104"/>
                <a:gd name="T1" fmla="*/ 117 h 151"/>
                <a:gd name="T2" fmla="*/ 0 w 104"/>
                <a:gd name="T3" fmla="*/ 0 h 151"/>
                <a:gd name="T4" fmla="*/ 104 w 104"/>
                <a:gd name="T5" fmla="*/ 151 h 151"/>
                <a:gd name="T6" fmla="*/ 101 w 104"/>
                <a:gd name="T7" fmla="*/ 11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51">
                  <a:moveTo>
                    <a:pt x="101" y="117"/>
                  </a:moveTo>
                  <a:cubicBezTo>
                    <a:pt x="20" y="78"/>
                    <a:pt x="0" y="0"/>
                    <a:pt x="0" y="0"/>
                  </a:cubicBezTo>
                  <a:cubicBezTo>
                    <a:pt x="15" y="89"/>
                    <a:pt x="77" y="135"/>
                    <a:pt x="104" y="151"/>
                  </a:cubicBezTo>
                  <a:cubicBezTo>
                    <a:pt x="103" y="141"/>
                    <a:pt x="102" y="129"/>
                    <a:pt x="101" y="117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ïš1îḋê"/>
            <p:cNvSpPr/>
            <p:nvPr/>
          </p:nvSpPr>
          <p:spPr bwMode="auto">
            <a:xfrm>
              <a:off x="4265613" y="5518150"/>
              <a:ext cx="327025" cy="95250"/>
            </a:xfrm>
            <a:custGeom>
              <a:avLst/>
              <a:gdLst>
                <a:gd name="T0" fmla="*/ 0 w 86"/>
                <a:gd name="T1" fmla="*/ 7 h 25"/>
                <a:gd name="T2" fmla="*/ 6 w 86"/>
                <a:gd name="T3" fmla="*/ 0 h 25"/>
                <a:gd name="T4" fmla="*/ 51 w 86"/>
                <a:gd name="T5" fmla="*/ 0 h 25"/>
                <a:gd name="T6" fmla="*/ 84 w 86"/>
                <a:gd name="T7" fmla="*/ 17 h 25"/>
                <a:gd name="T8" fmla="*/ 78 w 86"/>
                <a:gd name="T9" fmla="*/ 25 h 25"/>
                <a:gd name="T10" fmla="*/ 7 w 86"/>
                <a:gd name="T11" fmla="*/ 25 h 25"/>
                <a:gd name="T12" fmla="*/ 0 w 86"/>
                <a:gd name="T13" fmla="*/ 19 h 25"/>
                <a:gd name="T14" fmla="*/ 0 w 86"/>
                <a:gd name="T1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25">
                  <a:moveTo>
                    <a:pt x="0" y="7"/>
                  </a:moveTo>
                  <a:cubicBezTo>
                    <a:pt x="0" y="3"/>
                    <a:pt x="3" y="0"/>
                    <a:pt x="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7" y="0"/>
                    <a:pt x="79" y="6"/>
                    <a:pt x="84" y="17"/>
                  </a:cubicBezTo>
                  <a:cubicBezTo>
                    <a:pt x="86" y="21"/>
                    <a:pt x="82" y="25"/>
                    <a:pt x="7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3" y="25"/>
                    <a:pt x="0" y="23"/>
                    <a:pt x="0" y="19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ïsľidè"/>
            <p:cNvSpPr/>
            <p:nvPr/>
          </p:nvSpPr>
          <p:spPr bwMode="auto">
            <a:xfrm>
              <a:off x="4265613" y="5586413"/>
              <a:ext cx="323850" cy="26988"/>
            </a:xfrm>
            <a:custGeom>
              <a:avLst/>
              <a:gdLst>
                <a:gd name="T0" fmla="*/ 0 w 85"/>
                <a:gd name="T1" fmla="*/ 1 h 7"/>
                <a:gd name="T2" fmla="*/ 7 w 85"/>
                <a:gd name="T3" fmla="*/ 7 h 7"/>
                <a:gd name="T4" fmla="*/ 78 w 85"/>
                <a:gd name="T5" fmla="*/ 7 h 7"/>
                <a:gd name="T6" fmla="*/ 84 w 85"/>
                <a:gd name="T7" fmla="*/ 0 h 7"/>
                <a:gd name="T8" fmla="*/ 0 w 85"/>
                <a:gd name="T9" fmla="*/ 0 h 7"/>
                <a:gd name="T10" fmla="*/ 0 w 85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">
                  <a:moveTo>
                    <a:pt x="0" y="1"/>
                  </a:moveTo>
                  <a:cubicBezTo>
                    <a:pt x="0" y="5"/>
                    <a:pt x="3" y="7"/>
                    <a:pt x="7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2" y="7"/>
                    <a:pt x="85" y="4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iṩļíḋê"/>
            <p:cNvSpPr/>
            <p:nvPr/>
          </p:nvSpPr>
          <p:spPr bwMode="auto">
            <a:xfrm>
              <a:off x="4394200" y="5503863"/>
              <a:ext cx="19050" cy="60325"/>
            </a:xfrm>
            <a:custGeom>
              <a:avLst/>
              <a:gdLst>
                <a:gd name="T0" fmla="*/ 3 w 5"/>
                <a:gd name="T1" fmla="*/ 16 h 16"/>
                <a:gd name="T2" fmla="*/ 0 w 5"/>
                <a:gd name="T3" fmla="*/ 13 h 16"/>
                <a:gd name="T4" fmla="*/ 0 w 5"/>
                <a:gd name="T5" fmla="*/ 3 h 16"/>
                <a:gd name="T6" fmla="*/ 3 w 5"/>
                <a:gd name="T7" fmla="*/ 0 h 16"/>
                <a:gd name="T8" fmla="*/ 5 w 5"/>
                <a:gd name="T9" fmla="*/ 3 h 16"/>
                <a:gd name="T10" fmla="*/ 5 w 5"/>
                <a:gd name="T11" fmla="*/ 13 h 16"/>
                <a:gd name="T12" fmla="*/ 3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3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îSḻïḑê"/>
            <p:cNvSpPr/>
            <p:nvPr/>
          </p:nvSpPr>
          <p:spPr bwMode="auto">
            <a:xfrm>
              <a:off x="4437063" y="5503863"/>
              <a:ext cx="19050" cy="60325"/>
            </a:xfrm>
            <a:custGeom>
              <a:avLst/>
              <a:gdLst>
                <a:gd name="T0" fmla="*/ 2 w 5"/>
                <a:gd name="T1" fmla="*/ 16 h 16"/>
                <a:gd name="T2" fmla="*/ 0 w 5"/>
                <a:gd name="T3" fmla="*/ 13 h 16"/>
                <a:gd name="T4" fmla="*/ 0 w 5"/>
                <a:gd name="T5" fmla="*/ 3 h 16"/>
                <a:gd name="T6" fmla="*/ 2 w 5"/>
                <a:gd name="T7" fmla="*/ 0 h 16"/>
                <a:gd name="T8" fmla="*/ 5 w 5"/>
                <a:gd name="T9" fmla="*/ 3 h 16"/>
                <a:gd name="T10" fmla="*/ 5 w 5"/>
                <a:gd name="T11" fmla="*/ 13 h 16"/>
                <a:gd name="T12" fmla="*/ 2 w 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6">
                  <a:moveTo>
                    <a:pt x="2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îṧḷîḓé"/>
            <p:cNvSpPr/>
            <p:nvPr/>
          </p:nvSpPr>
          <p:spPr bwMode="auto">
            <a:xfrm>
              <a:off x="5548313" y="2136775"/>
              <a:ext cx="1431925" cy="1427163"/>
            </a:xfrm>
            <a:custGeom>
              <a:avLst/>
              <a:gdLst>
                <a:gd name="T0" fmla="*/ 334 w 375"/>
                <a:gd name="T1" fmla="*/ 111 h 374"/>
                <a:gd name="T2" fmla="*/ 340 w 375"/>
                <a:gd name="T3" fmla="*/ 90 h 374"/>
                <a:gd name="T4" fmla="*/ 334 w 375"/>
                <a:gd name="T5" fmla="*/ 69 h 374"/>
                <a:gd name="T6" fmla="*/ 320 w 375"/>
                <a:gd name="T7" fmla="*/ 54 h 374"/>
                <a:gd name="T8" fmla="*/ 306 w 375"/>
                <a:gd name="T9" fmla="*/ 40 h 374"/>
                <a:gd name="T10" fmla="*/ 284 w 375"/>
                <a:gd name="T11" fmla="*/ 34 h 374"/>
                <a:gd name="T12" fmla="*/ 263 w 375"/>
                <a:gd name="T13" fmla="*/ 40 h 374"/>
                <a:gd name="T14" fmla="*/ 237 w 375"/>
                <a:gd name="T15" fmla="*/ 30 h 374"/>
                <a:gd name="T16" fmla="*/ 227 w 375"/>
                <a:gd name="T17" fmla="*/ 11 h 374"/>
                <a:gd name="T18" fmla="*/ 208 w 375"/>
                <a:gd name="T19" fmla="*/ 0 h 374"/>
                <a:gd name="T20" fmla="*/ 187 w 375"/>
                <a:gd name="T21" fmla="*/ 0 h 374"/>
                <a:gd name="T22" fmla="*/ 167 w 375"/>
                <a:gd name="T23" fmla="*/ 0 h 374"/>
                <a:gd name="T24" fmla="*/ 148 w 375"/>
                <a:gd name="T25" fmla="*/ 11 h 374"/>
                <a:gd name="T26" fmla="*/ 137 w 375"/>
                <a:gd name="T27" fmla="*/ 30 h 374"/>
                <a:gd name="T28" fmla="*/ 112 w 375"/>
                <a:gd name="T29" fmla="*/ 40 h 374"/>
                <a:gd name="T30" fmla="*/ 91 w 375"/>
                <a:gd name="T31" fmla="*/ 34 h 374"/>
                <a:gd name="T32" fmla="*/ 69 w 375"/>
                <a:gd name="T33" fmla="*/ 40 h 374"/>
                <a:gd name="T34" fmla="*/ 55 w 375"/>
                <a:gd name="T35" fmla="*/ 54 h 374"/>
                <a:gd name="T36" fmla="*/ 41 w 375"/>
                <a:gd name="T37" fmla="*/ 69 h 374"/>
                <a:gd name="T38" fmla="*/ 35 w 375"/>
                <a:gd name="T39" fmla="*/ 90 h 374"/>
                <a:gd name="T40" fmla="*/ 41 w 375"/>
                <a:gd name="T41" fmla="*/ 111 h 374"/>
                <a:gd name="T42" fmla="*/ 30 w 375"/>
                <a:gd name="T43" fmla="*/ 137 h 374"/>
                <a:gd name="T44" fmla="*/ 12 w 375"/>
                <a:gd name="T45" fmla="*/ 147 h 374"/>
                <a:gd name="T46" fmla="*/ 0 w 375"/>
                <a:gd name="T47" fmla="*/ 167 h 374"/>
                <a:gd name="T48" fmla="*/ 0 w 375"/>
                <a:gd name="T49" fmla="*/ 187 h 374"/>
                <a:gd name="T50" fmla="*/ 0 w 375"/>
                <a:gd name="T51" fmla="*/ 207 h 374"/>
                <a:gd name="T52" fmla="*/ 12 w 375"/>
                <a:gd name="T53" fmla="*/ 226 h 374"/>
                <a:gd name="T54" fmla="*/ 30 w 375"/>
                <a:gd name="T55" fmla="*/ 237 h 374"/>
                <a:gd name="T56" fmla="*/ 41 w 375"/>
                <a:gd name="T57" fmla="*/ 262 h 374"/>
                <a:gd name="T58" fmla="*/ 35 w 375"/>
                <a:gd name="T59" fmla="*/ 283 h 374"/>
                <a:gd name="T60" fmla="*/ 41 w 375"/>
                <a:gd name="T61" fmla="*/ 305 h 374"/>
                <a:gd name="T62" fmla="*/ 55 w 375"/>
                <a:gd name="T63" fmla="*/ 319 h 374"/>
                <a:gd name="T64" fmla="*/ 69 w 375"/>
                <a:gd name="T65" fmla="*/ 333 h 374"/>
                <a:gd name="T66" fmla="*/ 91 w 375"/>
                <a:gd name="T67" fmla="*/ 339 h 374"/>
                <a:gd name="T68" fmla="*/ 112 w 375"/>
                <a:gd name="T69" fmla="*/ 333 h 374"/>
                <a:gd name="T70" fmla="*/ 137 w 375"/>
                <a:gd name="T71" fmla="*/ 344 h 374"/>
                <a:gd name="T72" fmla="*/ 148 w 375"/>
                <a:gd name="T73" fmla="*/ 362 h 374"/>
                <a:gd name="T74" fmla="*/ 167 w 375"/>
                <a:gd name="T75" fmla="*/ 374 h 374"/>
                <a:gd name="T76" fmla="*/ 187 w 375"/>
                <a:gd name="T77" fmla="*/ 374 h 374"/>
                <a:gd name="T78" fmla="*/ 208 w 375"/>
                <a:gd name="T79" fmla="*/ 374 h 374"/>
                <a:gd name="T80" fmla="*/ 227 w 375"/>
                <a:gd name="T81" fmla="*/ 362 h 374"/>
                <a:gd name="T82" fmla="*/ 237 w 375"/>
                <a:gd name="T83" fmla="*/ 344 h 374"/>
                <a:gd name="T84" fmla="*/ 263 w 375"/>
                <a:gd name="T85" fmla="*/ 333 h 374"/>
                <a:gd name="T86" fmla="*/ 284 w 375"/>
                <a:gd name="T87" fmla="*/ 339 h 374"/>
                <a:gd name="T88" fmla="*/ 306 w 375"/>
                <a:gd name="T89" fmla="*/ 333 h 374"/>
                <a:gd name="T90" fmla="*/ 320 w 375"/>
                <a:gd name="T91" fmla="*/ 319 h 374"/>
                <a:gd name="T92" fmla="*/ 334 w 375"/>
                <a:gd name="T93" fmla="*/ 305 h 374"/>
                <a:gd name="T94" fmla="*/ 340 w 375"/>
                <a:gd name="T95" fmla="*/ 283 h 374"/>
                <a:gd name="T96" fmla="*/ 334 w 375"/>
                <a:gd name="T97" fmla="*/ 262 h 374"/>
                <a:gd name="T98" fmla="*/ 344 w 375"/>
                <a:gd name="T99" fmla="*/ 237 h 374"/>
                <a:gd name="T100" fmla="*/ 363 w 375"/>
                <a:gd name="T101" fmla="*/ 226 h 374"/>
                <a:gd name="T102" fmla="*/ 375 w 375"/>
                <a:gd name="T103" fmla="*/ 207 h 374"/>
                <a:gd name="T104" fmla="*/ 375 w 375"/>
                <a:gd name="T105" fmla="*/ 187 h 374"/>
                <a:gd name="T106" fmla="*/ 375 w 375"/>
                <a:gd name="T107" fmla="*/ 167 h 374"/>
                <a:gd name="T108" fmla="*/ 363 w 375"/>
                <a:gd name="T109" fmla="*/ 147 h 374"/>
                <a:gd name="T110" fmla="*/ 344 w 375"/>
                <a:gd name="T111" fmla="*/ 137 h 374"/>
                <a:gd name="T112" fmla="*/ 334 w 375"/>
                <a:gd name="T113" fmla="*/ 111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5" h="374">
                  <a:moveTo>
                    <a:pt x="334" y="111"/>
                  </a:moveTo>
                  <a:cubicBezTo>
                    <a:pt x="340" y="90"/>
                    <a:pt x="340" y="90"/>
                    <a:pt x="340" y="90"/>
                  </a:cubicBezTo>
                  <a:cubicBezTo>
                    <a:pt x="342" y="83"/>
                    <a:pt x="340" y="74"/>
                    <a:pt x="334" y="69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06" y="40"/>
                    <a:pt x="306" y="40"/>
                    <a:pt x="306" y="40"/>
                  </a:cubicBezTo>
                  <a:cubicBezTo>
                    <a:pt x="300" y="34"/>
                    <a:pt x="291" y="32"/>
                    <a:pt x="284" y="34"/>
                  </a:cubicBezTo>
                  <a:cubicBezTo>
                    <a:pt x="263" y="40"/>
                    <a:pt x="263" y="40"/>
                    <a:pt x="263" y="40"/>
                  </a:cubicBezTo>
                  <a:cubicBezTo>
                    <a:pt x="253" y="43"/>
                    <a:pt x="243" y="39"/>
                    <a:pt x="237" y="30"/>
                  </a:cubicBezTo>
                  <a:cubicBezTo>
                    <a:pt x="227" y="11"/>
                    <a:pt x="227" y="11"/>
                    <a:pt x="227" y="11"/>
                  </a:cubicBezTo>
                  <a:cubicBezTo>
                    <a:pt x="223" y="4"/>
                    <a:pt x="216" y="0"/>
                    <a:pt x="208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59" y="0"/>
                    <a:pt x="152" y="4"/>
                    <a:pt x="148" y="11"/>
                  </a:cubicBezTo>
                  <a:cubicBezTo>
                    <a:pt x="137" y="30"/>
                    <a:pt x="137" y="30"/>
                    <a:pt x="137" y="30"/>
                  </a:cubicBezTo>
                  <a:cubicBezTo>
                    <a:pt x="132" y="39"/>
                    <a:pt x="122" y="43"/>
                    <a:pt x="112" y="40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83" y="32"/>
                    <a:pt x="75" y="34"/>
                    <a:pt x="69" y="4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35" y="74"/>
                    <a:pt x="33" y="83"/>
                    <a:pt x="35" y="90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4" y="121"/>
                    <a:pt x="39" y="132"/>
                    <a:pt x="30" y="13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5" y="151"/>
                    <a:pt x="0" y="158"/>
                    <a:pt x="0" y="167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15"/>
                    <a:pt x="5" y="222"/>
                    <a:pt x="12" y="226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39" y="242"/>
                    <a:pt x="44" y="252"/>
                    <a:pt x="41" y="262"/>
                  </a:cubicBezTo>
                  <a:cubicBezTo>
                    <a:pt x="35" y="283"/>
                    <a:pt x="35" y="283"/>
                    <a:pt x="35" y="283"/>
                  </a:cubicBezTo>
                  <a:cubicBezTo>
                    <a:pt x="33" y="291"/>
                    <a:pt x="35" y="299"/>
                    <a:pt x="41" y="30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9" y="333"/>
                    <a:pt x="69" y="333"/>
                    <a:pt x="69" y="333"/>
                  </a:cubicBezTo>
                  <a:cubicBezTo>
                    <a:pt x="75" y="339"/>
                    <a:pt x="83" y="341"/>
                    <a:pt x="91" y="339"/>
                  </a:cubicBezTo>
                  <a:cubicBezTo>
                    <a:pt x="112" y="333"/>
                    <a:pt x="112" y="333"/>
                    <a:pt x="112" y="333"/>
                  </a:cubicBezTo>
                  <a:cubicBezTo>
                    <a:pt x="122" y="330"/>
                    <a:pt x="132" y="335"/>
                    <a:pt x="137" y="344"/>
                  </a:cubicBezTo>
                  <a:cubicBezTo>
                    <a:pt x="148" y="362"/>
                    <a:pt x="148" y="362"/>
                    <a:pt x="148" y="362"/>
                  </a:cubicBezTo>
                  <a:cubicBezTo>
                    <a:pt x="152" y="369"/>
                    <a:pt x="159" y="374"/>
                    <a:pt x="167" y="374"/>
                  </a:cubicBezTo>
                  <a:cubicBezTo>
                    <a:pt x="187" y="374"/>
                    <a:pt x="187" y="374"/>
                    <a:pt x="187" y="374"/>
                  </a:cubicBezTo>
                  <a:cubicBezTo>
                    <a:pt x="208" y="374"/>
                    <a:pt x="208" y="374"/>
                    <a:pt x="208" y="374"/>
                  </a:cubicBezTo>
                  <a:cubicBezTo>
                    <a:pt x="216" y="374"/>
                    <a:pt x="223" y="369"/>
                    <a:pt x="227" y="362"/>
                  </a:cubicBezTo>
                  <a:cubicBezTo>
                    <a:pt x="237" y="344"/>
                    <a:pt x="237" y="344"/>
                    <a:pt x="237" y="344"/>
                  </a:cubicBezTo>
                  <a:cubicBezTo>
                    <a:pt x="243" y="335"/>
                    <a:pt x="253" y="330"/>
                    <a:pt x="263" y="33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1" y="341"/>
                    <a:pt x="300" y="339"/>
                    <a:pt x="306" y="333"/>
                  </a:cubicBezTo>
                  <a:cubicBezTo>
                    <a:pt x="320" y="319"/>
                    <a:pt x="320" y="319"/>
                    <a:pt x="320" y="319"/>
                  </a:cubicBezTo>
                  <a:cubicBezTo>
                    <a:pt x="334" y="305"/>
                    <a:pt x="334" y="305"/>
                    <a:pt x="334" y="305"/>
                  </a:cubicBezTo>
                  <a:cubicBezTo>
                    <a:pt x="340" y="299"/>
                    <a:pt x="342" y="291"/>
                    <a:pt x="340" y="283"/>
                  </a:cubicBezTo>
                  <a:cubicBezTo>
                    <a:pt x="334" y="262"/>
                    <a:pt x="334" y="262"/>
                    <a:pt x="334" y="262"/>
                  </a:cubicBezTo>
                  <a:cubicBezTo>
                    <a:pt x="331" y="252"/>
                    <a:pt x="335" y="242"/>
                    <a:pt x="344" y="237"/>
                  </a:cubicBezTo>
                  <a:cubicBezTo>
                    <a:pt x="363" y="226"/>
                    <a:pt x="363" y="226"/>
                    <a:pt x="363" y="226"/>
                  </a:cubicBezTo>
                  <a:cubicBezTo>
                    <a:pt x="370" y="222"/>
                    <a:pt x="375" y="215"/>
                    <a:pt x="375" y="207"/>
                  </a:cubicBezTo>
                  <a:cubicBezTo>
                    <a:pt x="375" y="187"/>
                    <a:pt x="375" y="187"/>
                    <a:pt x="375" y="187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75" y="158"/>
                    <a:pt x="370" y="151"/>
                    <a:pt x="363" y="147"/>
                  </a:cubicBezTo>
                  <a:cubicBezTo>
                    <a:pt x="344" y="137"/>
                    <a:pt x="344" y="137"/>
                    <a:pt x="344" y="137"/>
                  </a:cubicBezTo>
                  <a:cubicBezTo>
                    <a:pt x="335" y="132"/>
                    <a:pt x="331" y="121"/>
                    <a:pt x="334" y="111"/>
                  </a:cubicBezTo>
                  <a:close/>
                </a:path>
              </a:pathLst>
            </a:custGeom>
            <a:solidFill>
              <a:srgbClr val="FFA9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îšļide"/>
            <p:cNvSpPr/>
            <p:nvPr/>
          </p:nvSpPr>
          <p:spPr bwMode="auto">
            <a:xfrm>
              <a:off x="6059488" y="2647950"/>
              <a:ext cx="409575" cy="4095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îSļïďé"/>
            <p:cNvSpPr/>
            <p:nvPr/>
          </p:nvSpPr>
          <p:spPr bwMode="auto">
            <a:xfrm>
              <a:off x="5868988" y="2462213"/>
              <a:ext cx="790575" cy="785813"/>
            </a:xfrm>
            <a:custGeom>
              <a:avLst/>
              <a:gdLst>
                <a:gd name="T0" fmla="*/ 103 w 207"/>
                <a:gd name="T1" fmla="*/ 206 h 206"/>
                <a:gd name="T2" fmla="*/ 0 w 207"/>
                <a:gd name="T3" fmla="*/ 103 h 206"/>
                <a:gd name="T4" fmla="*/ 103 w 207"/>
                <a:gd name="T5" fmla="*/ 0 h 206"/>
                <a:gd name="T6" fmla="*/ 207 w 207"/>
                <a:gd name="T7" fmla="*/ 103 h 206"/>
                <a:gd name="T8" fmla="*/ 103 w 207"/>
                <a:gd name="T9" fmla="*/ 206 h 206"/>
                <a:gd name="T10" fmla="*/ 103 w 207"/>
                <a:gd name="T11" fmla="*/ 6 h 206"/>
                <a:gd name="T12" fmla="*/ 6 w 207"/>
                <a:gd name="T13" fmla="*/ 103 h 206"/>
                <a:gd name="T14" fmla="*/ 103 w 207"/>
                <a:gd name="T15" fmla="*/ 200 h 206"/>
                <a:gd name="T16" fmla="*/ 201 w 207"/>
                <a:gd name="T17" fmla="*/ 103 h 206"/>
                <a:gd name="T18" fmla="*/ 103 w 207"/>
                <a:gd name="T19" fmla="*/ 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3" y="206"/>
                  </a:cubicBezTo>
                  <a:close/>
                  <a:moveTo>
                    <a:pt x="103" y="6"/>
                  </a:moveTo>
                  <a:cubicBezTo>
                    <a:pt x="50" y="6"/>
                    <a:pt x="6" y="49"/>
                    <a:pt x="6" y="103"/>
                  </a:cubicBezTo>
                  <a:cubicBezTo>
                    <a:pt x="6" y="157"/>
                    <a:pt x="50" y="200"/>
                    <a:pt x="103" y="200"/>
                  </a:cubicBezTo>
                  <a:cubicBezTo>
                    <a:pt x="157" y="200"/>
                    <a:pt x="201" y="157"/>
                    <a:pt x="201" y="103"/>
                  </a:cubicBezTo>
                  <a:cubicBezTo>
                    <a:pt x="201" y="49"/>
                    <a:pt x="157" y="6"/>
                    <a:pt x="10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íṧḷïḓè"/>
            <p:cNvSpPr/>
            <p:nvPr/>
          </p:nvSpPr>
          <p:spPr bwMode="auto">
            <a:xfrm>
              <a:off x="5945188" y="2538413"/>
              <a:ext cx="633413" cy="633413"/>
            </a:xfrm>
            <a:custGeom>
              <a:avLst/>
              <a:gdLst>
                <a:gd name="T0" fmla="*/ 83 w 166"/>
                <a:gd name="T1" fmla="*/ 166 h 166"/>
                <a:gd name="T2" fmla="*/ 0 w 166"/>
                <a:gd name="T3" fmla="*/ 83 h 166"/>
                <a:gd name="T4" fmla="*/ 83 w 166"/>
                <a:gd name="T5" fmla="*/ 0 h 166"/>
                <a:gd name="T6" fmla="*/ 166 w 166"/>
                <a:gd name="T7" fmla="*/ 83 h 166"/>
                <a:gd name="T8" fmla="*/ 83 w 166"/>
                <a:gd name="T9" fmla="*/ 166 h 166"/>
                <a:gd name="T10" fmla="*/ 83 w 166"/>
                <a:gd name="T11" fmla="*/ 14 h 166"/>
                <a:gd name="T12" fmla="*/ 15 w 166"/>
                <a:gd name="T13" fmla="*/ 83 h 166"/>
                <a:gd name="T14" fmla="*/ 83 w 166"/>
                <a:gd name="T15" fmla="*/ 152 h 166"/>
                <a:gd name="T16" fmla="*/ 152 w 166"/>
                <a:gd name="T17" fmla="*/ 83 h 166"/>
                <a:gd name="T18" fmla="*/ 83 w 166"/>
                <a:gd name="T19" fmla="*/ 1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66"/>
                  </a:moveTo>
                  <a:cubicBezTo>
                    <a:pt x="38" y="166"/>
                    <a:pt x="0" y="129"/>
                    <a:pt x="0" y="83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  <a:moveTo>
                    <a:pt x="83" y="14"/>
                  </a:moveTo>
                  <a:cubicBezTo>
                    <a:pt x="46" y="14"/>
                    <a:pt x="15" y="45"/>
                    <a:pt x="15" y="83"/>
                  </a:cubicBezTo>
                  <a:cubicBezTo>
                    <a:pt x="15" y="121"/>
                    <a:pt x="46" y="152"/>
                    <a:pt x="83" y="152"/>
                  </a:cubicBezTo>
                  <a:cubicBezTo>
                    <a:pt x="121" y="152"/>
                    <a:pt x="152" y="121"/>
                    <a:pt x="152" y="83"/>
                  </a:cubicBezTo>
                  <a:cubicBezTo>
                    <a:pt x="152" y="45"/>
                    <a:pt x="121" y="14"/>
                    <a:pt x="8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îslidé"/>
            <p:cNvSpPr/>
            <p:nvPr/>
          </p:nvSpPr>
          <p:spPr bwMode="auto">
            <a:xfrm>
              <a:off x="5899150" y="3511550"/>
              <a:ext cx="1431925" cy="1427163"/>
            </a:xfrm>
            <a:custGeom>
              <a:avLst/>
              <a:gdLst>
                <a:gd name="T0" fmla="*/ 334 w 375"/>
                <a:gd name="T1" fmla="*/ 111 h 374"/>
                <a:gd name="T2" fmla="*/ 340 w 375"/>
                <a:gd name="T3" fmla="*/ 90 h 374"/>
                <a:gd name="T4" fmla="*/ 334 w 375"/>
                <a:gd name="T5" fmla="*/ 69 h 374"/>
                <a:gd name="T6" fmla="*/ 320 w 375"/>
                <a:gd name="T7" fmla="*/ 54 h 374"/>
                <a:gd name="T8" fmla="*/ 306 w 375"/>
                <a:gd name="T9" fmla="*/ 40 h 374"/>
                <a:gd name="T10" fmla="*/ 284 w 375"/>
                <a:gd name="T11" fmla="*/ 34 h 374"/>
                <a:gd name="T12" fmla="*/ 263 w 375"/>
                <a:gd name="T13" fmla="*/ 40 h 374"/>
                <a:gd name="T14" fmla="*/ 237 w 375"/>
                <a:gd name="T15" fmla="*/ 30 h 374"/>
                <a:gd name="T16" fmla="*/ 227 w 375"/>
                <a:gd name="T17" fmla="*/ 11 h 374"/>
                <a:gd name="T18" fmla="*/ 208 w 375"/>
                <a:gd name="T19" fmla="*/ 0 h 374"/>
                <a:gd name="T20" fmla="*/ 187 w 375"/>
                <a:gd name="T21" fmla="*/ 0 h 374"/>
                <a:gd name="T22" fmla="*/ 167 w 375"/>
                <a:gd name="T23" fmla="*/ 0 h 374"/>
                <a:gd name="T24" fmla="*/ 148 w 375"/>
                <a:gd name="T25" fmla="*/ 11 h 374"/>
                <a:gd name="T26" fmla="*/ 137 w 375"/>
                <a:gd name="T27" fmla="*/ 30 h 374"/>
                <a:gd name="T28" fmla="*/ 112 w 375"/>
                <a:gd name="T29" fmla="*/ 40 h 374"/>
                <a:gd name="T30" fmla="*/ 91 w 375"/>
                <a:gd name="T31" fmla="*/ 34 h 374"/>
                <a:gd name="T32" fmla="*/ 69 w 375"/>
                <a:gd name="T33" fmla="*/ 40 h 374"/>
                <a:gd name="T34" fmla="*/ 55 w 375"/>
                <a:gd name="T35" fmla="*/ 54 h 374"/>
                <a:gd name="T36" fmla="*/ 41 w 375"/>
                <a:gd name="T37" fmla="*/ 69 h 374"/>
                <a:gd name="T38" fmla="*/ 35 w 375"/>
                <a:gd name="T39" fmla="*/ 90 h 374"/>
                <a:gd name="T40" fmla="*/ 41 w 375"/>
                <a:gd name="T41" fmla="*/ 111 h 374"/>
                <a:gd name="T42" fmla="*/ 30 w 375"/>
                <a:gd name="T43" fmla="*/ 137 h 374"/>
                <a:gd name="T44" fmla="*/ 12 w 375"/>
                <a:gd name="T45" fmla="*/ 147 h 374"/>
                <a:gd name="T46" fmla="*/ 0 w 375"/>
                <a:gd name="T47" fmla="*/ 167 h 374"/>
                <a:gd name="T48" fmla="*/ 0 w 375"/>
                <a:gd name="T49" fmla="*/ 187 h 374"/>
                <a:gd name="T50" fmla="*/ 0 w 375"/>
                <a:gd name="T51" fmla="*/ 207 h 374"/>
                <a:gd name="T52" fmla="*/ 12 w 375"/>
                <a:gd name="T53" fmla="*/ 226 h 374"/>
                <a:gd name="T54" fmla="*/ 30 w 375"/>
                <a:gd name="T55" fmla="*/ 237 h 374"/>
                <a:gd name="T56" fmla="*/ 41 w 375"/>
                <a:gd name="T57" fmla="*/ 262 h 374"/>
                <a:gd name="T58" fmla="*/ 35 w 375"/>
                <a:gd name="T59" fmla="*/ 283 h 374"/>
                <a:gd name="T60" fmla="*/ 41 w 375"/>
                <a:gd name="T61" fmla="*/ 305 h 374"/>
                <a:gd name="T62" fmla="*/ 55 w 375"/>
                <a:gd name="T63" fmla="*/ 319 h 374"/>
                <a:gd name="T64" fmla="*/ 69 w 375"/>
                <a:gd name="T65" fmla="*/ 333 h 374"/>
                <a:gd name="T66" fmla="*/ 91 w 375"/>
                <a:gd name="T67" fmla="*/ 339 h 374"/>
                <a:gd name="T68" fmla="*/ 112 w 375"/>
                <a:gd name="T69" fmla="*/ 333 h 374"/>
                <a:gd name="T70" fmla="*/ 137 w 375"/>
                <a:gd name="T71" fmla="*/ 344 h 374"/>
                <a:gd name="T72" fmla="*/ 148 w 375"/>
                <a:gd name="T73" fmla="*/ 362 h 374"/>
                <a:gd name="T74" fmla="*/ 167 w 375"/>
                <a:gd name="T75" fmla="*/ 374 h 374"/>
                <a:gd name="T76" fmla="*/ 187 w 375"/>
                <a:gd name="T77" fmla="*/ 374 h 374"/>
                <a:gd name="T78" fmla="*/ 208 w 375"/>
                <a:gd name="T79" fmla="*/ 374 h 374"/>
                <a:gd name="T80" fmla="*/ 227 w 375"/>
                <a:gd name="T81" fmla="*/ 362 h 374"/>
                <a:gd name="T82" fmla="*/ 237 w 375"/>
                <a:gd name="T83" fmla="*/ 344 h 374"/>
                <a:gd name="T84" fmla="*/ 263 w 375"/>
                <a:gd name="T85" fmla="*/ 333 h 374"/>
                <a:gd name="T86" fmla="*/ 284 w 375"/>
                <a:gd name="T87" fmla="*/ 339 h 374"/>
                <a:gd name="T88" fmla="*/ 306 w 375"/>
                <a:gd name="T89" fmla="*/ 333 h 374"/>
                <a:gd name="T90" fmla="*/ 320 w 375"/>
                <a:gd name="T91" fmla="*/ 319 h 374"/>
                <a:gd name="T92" fmla="*/ 334 w 375"/>
                <a:gd name="T93" fmla="*/ 305 h 374"/>
                <a:gd name="T94" fmla="*/ 340 w 375"/>
                <a:gd name="T95" fmla="*/ 283 h 374"/>
                <a:gd name="T96" fmla="*/ 334 w 375"/>
                <a:gd name="T97" fmla="*/ 262 h 374"/>
                <a:gd name="T98" fmla="*/ 344 w 375"/>
                <a:gd name="T99" fmla="*/ 237 h 374"/>
                <a:gd name="T100" fmla="*/ 363 w 375"/>
                <a:gd name="T101" fmla="*/ 226 h 374"/>
                <a:gd name="T102" fmla="*/ 375 w 375"/>
                <a:gd name="T103" fmla="*/ 207 h 374"/>
                <a:gd name="T104" fmla="*/ 375 w 375"/>
                <a:gd name="T105" fmla="*/ 187 h 374"/>
                <a:gd name="T106" fmla="*/ 375 w 375"/>
                <a:gd name="T107" fmla="*/ 167 h 374"/>
                <a:gd name="T108" fmla="*/ 363 w 375"/>
                <a:gd name="T109" fmla="*/ 147 h 374"/>
                <a:gd name="T110" fmla="*/ 344 w 375"/>
                <a:gd name="T111" fmla="*/ 137 h 374"/>
                <a:gd name="T112" fmla="*/ 334 w 375"/>
                <a:gd name="T113" fmla="*/ 111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5" h="374">
                  <a:moveTo>
                    <a:pt x="334" y="111"/>
                  </a:moveTo>
                  <a:cubicBezTo>
                    <a:pt x="340" y="90"/>
                    <a:pt x="340" y="90"/>
                    <a:pt x="340" y="90"/>
                  </a:cubicBezTo>
                  <a:cubicBezTo>
                    <a:pt x="342" y="83"/>
                    <a:pt x="340" y="74"/>
                    <a:pt x="334" y="69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06" y="40"/>
                    <a:pt x="306" y="40"/>
                    <a:pt x="306" y="40"/>
                  </a:cubicBezTo>
                  <a:cubicBezTo>
                    <a:pt x="300" y="34"/>
                    <a:pt x="291" y="32"/>
                    <a:pt x="284" y="34"/>
                  </a:cubicBezTo>
                  <a:cubicBezTo>
                    <a:pt x="263" y="40"/>
                    <a:pt x="263" y="40"/>
                    <a:pt x="263" y="40"/>
                  </a:cubicBezTo>
                  <a:cubicBezTo>
                    <a:pt x="253" y="43"/>
                    <a:pt x="243" y="39"/>
                    <a:pt x="237" y="30"/>
                  </a:cubicBezTo>
                  <a:cubicBezTo>
                    <a:pt x="227" y="11"/>
                    <a:pt x="227" y="11"/>
                    <a:pt x="227" y="11"/>
                  </a:cubicBezTo>
                  <a:cubicBezTo>
                    <a:pt x="223" y="4"/>
                    <a:pt x="216" y="0"/>
                    <a:pt x="208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59" y="0"/>
                    <a:pt x="152" y="4"/>
                    <a:pt x="148" y="11"/>
                  </a:cubicBezTo>
                  <a:cubicBezTo>
                    <a:pt x="137" y="30"/>
                    <a:pt x="137" y="30"/>
                    <a:pt x="137" y="30"/>
                  </a:cubicBezTo>
                  <a:cubicBezTo>
                    <a:pt x="132" y="39"/>
                    <a:pt x="122" y="43"/>
                    <a:pt x="112" y="40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83" y="32"/>
                    <a:pt x="75" y="34"/>
                    <a:pt x="69" y="4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35" y="74"/>
                    <a:pt x="33" y="83"/>
                    <a:pt x="35" y="90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4" y="121"/>
                    <a:pt x="39" y="132"/>
                    <a:pt x="30" y="13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5" y="151"/>
                    <a:pt x="0" y="158"/>
                    <a:pt x="0" y="167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15"/>
                    <a:pt x="5" y="222"/>
                    <a:pt x="12" y="226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39" y="242"/>
                    <a:pt x="44" y="252"/>
                    <a:pt x="41" y="262"/>
                  </a:cubicBezTo>
                  <a:cubicBezTo>
                    <a:pt x="35" y="283"/>
                    <a:pt x="35" y="283"/>
                    <a:pt x="35" y="283"/>
                  </a:cubicBezTo>
                  <a:cubicBezTo>
                    <a:pt x="33" y="291"/>
                    <a:pt x="35" y="299"/>
                    <a:pt x="41" y="30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9" y="333"/>
                    <a:pt x="69" y="333"/>
                    <a:pt x="69" y="333"/>
                  </a:cubicBezTo>
                  <a:cubicBezTo>
                    <a:pt x="75" y="339"/>
                    <a:pt x="83" y="341"/>
                    <a:pt x="91" y="339"/>
                  </a:cubicBezTo>
                  <a:cubicBezTo>
                    <a:pt x="112" y="333"/>
                    <a:pt x="112" y="333"/>
                    <a:pt x="112" y="333"/>
                  </a:cubicBezTo>
                  <a:cubicBezTo>
                    <a:pt x="122" y="330"/>
                    <a:pt x="132" y="335"/>
                    <a:pt x="137" y="344"/>
                  </a:cubicBezTo>
                  <a:cubicBezTo>
                    <a:pt x="148" y="362"/>
                    <a:pt x="148" y="362"/>
                    <a:pt x="148" y="362"/>
                  </a:cubicBezTo>
                  <a:cubicBezTo>
                    <a:pt x="152" y="369"/>
                    <a:pt x="159" y="374"/>
                    <a:pt x="167" y="374"/>
                  </a:cubicBezTo>
                  <a:cubicBezTo>
                    <a:pt x="187" y="374"/>
                    <a:pt x="187" y="374"/>
                    <a:pt x="187" y="374"/>
                  </a:cubicBezTo>
                  <a:cubicBezTo>
                    <a:pt x="208" y="374"/>
                    <a:pt x="208" y="374"/>
                    <a:pt x="208" y="374"/>
                  </a:cubicBezTo>
                  <a:cubicBezTo>
                    <a:pt x="216" y="374"/>
                    <a:pt x="223" y="369"/>
                    <a:pt x="227" y="362"/>
                  </a:cubicBezTo>
                  <a:cubicBezTo>
                    <a:pt x="237" y="344"/>
                    <a:pt x="237" y="344"/>
                    <a:pt x="237" y="344"/>
                  </a:cubicBezTo>
                  <a:cubicBezTo>
                    <a:pt x="243" y="335"/>
                    <a:pt x="253" y="330"/>
                    <a:pt x="263" y="33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1" y="341"/>
                    <a:pt x="300" y="339"/>
                    <a:pt x="306" y="333"/>
                  </a:cubicBezTo>
                  <a:cubicBezTo>
                    <a:pt x="320" y="319"/>
                    <a:pt x="320" y="319"/>
                    <a:pt x="320" y="319"/>
                  </a:cubicBezTo>
                  <a:cubicBezTo>
                    <a:pt x="334" y="305"/>
                    <a:pt x="334" y="305"/>
                    <a:pt x="334" y="305"/>
                  </a:cubicBezTo>
                  <a:cubicBezTo>
                    <a:pt x="340" y="299"/>
                    <a:pt x="342" y="291"/>
                    <a:pt x="340" y="283"/>
                  </a:cubicBezTo>
                  <a:cubicBezTo>
                    <a:pt x="334" y="262"/>
                    <a:pt x="334" y="262"/>
                    <a:pt x="334" y="262"/>
                  </a:cubicBezTo>
                  <a:cubicBezTo>
                    <a:pt x="331" y="252"/>
                    <a:pt x="335" y="242"/>
                    <a:pt x="344" y="237"/>
                  </a:cubicBezTo>
                  <a:cubicBezTo>
                    <a:pt x="363" y="226"/>
                    <a:pt x="363" y="226"/>
                    <a:pt x="363" y="226"/>
                  </a:cubicBezTo>
                  <a:cubicBezTo>
                    <a:pt x="370" y="222"/>
                    <a:pt x="375" y="215"/>
                    <a:pt x="375" y="207"/>
                  </a:cubicBezTo>
                  <a:cubicBezTo>
                    <a:pt x="375" y="187"/>
                    <a:pt x="375" y="187"/>
                    <a:pt x="375" y="187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75" y="158"/>
                    <a:pt x="370" y="151"/>
                    <a:pt x="363" y="147"/>
                  </a:cubicBezTo>
                  <a:cubicBezTo>
                    <a:pt x="344" y="137"/>
                    <a:pt x="344" y="137"/>
                    <a:pt x="344" y="137"/>
                  </a:cubicBezTo>
                  <a:cubicBezTo>
                    <a:pt x="335" y="132"/>
                    <a:pt x="331" y="121"/>
                    <a:pt x="334" y="111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íşliďè"/>
            <p:cNvSpPr/>
            <p:nvPr/>
          </p:nvSpPr>
          <p:spPr bwMode="auto">
            <a:xfrm>
              <a:off x="6410325" y="4022725"/>
              <a:ext cx="409575" cy="4079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i$ľîḋe"/>
            <p:cNvSpPr/>
            <p:nvPr/>
          </p:nvSpPr>
          <p:spPr bwMode="auto">
            <a:xfrm>
              <a:off x="6219825" y="3835400"/>
              <a:ext cx="790575" cy="785813"/>
            </a:xfrm>
            <a:custGeom>
              <a:avLst/>
              <a:gdLst>
                <a:gd name="T0" fmla="*/ 103 w 207"/>
                <a:gd name="T1" fmla="*/ 206 h 206"/>
                <a:gd name="T2" fmla="*/ 0 w 207"/>
                <a:gd name="T3" fmla="*/ 103 h 206"/>
                <a:gd name="T4" fmla="*/ 103 w 207"/>
                <a:gd name="T5" fmla="*/ 0 h 206"/>
                <a:gd name="T6" fmla="*/ 207 w 207"/>
                <a:gd name="T7" fmla="*/ 103 h 206"/>
                <a:gd name="T8" fmla="*/ 103 w 207"/>
                <a:gd name="T9" fmla="*/ 206 h 206"/>
                <a:gd name="T10" fmla="*/ 103 w 207"/>
                <a:gd name="T11" fmla="*/ 6 h 206"/>
                <a:gd name="T12" fmla="*/ 6 w 207"/>
                <a:gd name="T13" fmla="*/ 103 h 206"/>
                <a:gd name="T14" fmla="*/ 103 w 207"/>
                <a:gd name="T15" fmla="*/ 200 h 206"/>
                <a:gd name="T16" fmla="*/ 201 w 207"/>
                <a:gd name="T17" fmla="*/ 103 h 206"/>
                <a:gd name="T18" fmla="*/ 103 w 207"/>
                <a:gd name="T19" fmla="*/ 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3" y="206"/>
                  </a:cubicBezTo>
                  <a:close/>
                  <a:moveTo>
                    <a:pt x="103" y="6"/>
                  </a:moveTo>
                  <a:cubicBezTo>
                    <a:pt x="50" y="6"/>
                    <a:pt x="6" y="49"/>
                    <a:pt x="6" y="103"/>
                  </a:cubicBezTo>
                  <a:cubicBezTo>
                    <a:pt x="6" y="157"/>
                    <a:pt x="50" y="200"/>
                    <a:pt x="103" y="200"/>
                  </a:cubicBezTo>
                  <a:cubicBezTo>
                    <a:pt x="157" y="200"/>
                    <a:pt x="201" y="157"/>
                    <a:pt x="201" y="103"/>
                  </a:cubicBezTo>
                  <a:cubicBezTo>
                    <a:pt x="201" y="49"/>
                    <a:pt x="157" y="6"/>
                    <a:pt x="10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ïsľîďe"/>
            <p:cNvSpPr/>
            <p:nvPr/>
          </p:nvSpPr>
          <p:spPr bwMode="auto">
            <a:xfrm>
              <a:off x="6296025" y="3911600"/>
              <a:ext cx="635000" cy="633413"/>
            </a:xfrm>
            <a:custGeom>
              <a:avLst/>
              <a:gdLst>
                <a:gd name="T0" fmla="*/ 83 w 166"/>
                <a:gd name="T1" fmla="*/ 166 h 166"/>
                <a:gd name="T2" fmla="*/ 0 w 166"/>
                <a:gd name="T3" fmla="*/ 83 h 166"/>
                <a:gd name="T4" fmla="*/ 83 w 166"/>
                <a:gd name="T5" fmla="*/ 0 h 166"/>
                <a:gd name="T6" fmla="*/ 166 w 166"/>
                <a:gd name="T7" fmla="*/ 83 h 166"/>
                <a:gd name="T8" fmla="*/ 83 w 166"/>
                <a:gd name="T9" fmla="*/ 166 h 166"/>
                <a:gd name="T10" fmla="*/ 83 w 166"/>
                <a:gd name="T11" fmla="*/ 14 h 166"/>
                <a:gd name="T12" fmla="*/ 15 w 166"/>
                <a:gd name="T13" fmla="*/ 83 h 166"/>
                <a:gd name="T14" fmla="*/ 83 w 166"/>
                <a:gd name="T15" fmla="*/ 152 h 166"/>
                <a:gd name="T16" fmla="*/ 152 w 166"/>
                <a:gd name="T17" fmla="*/ 83 h 166"/>
                <a:gd name="T18" fmla="*/ 83 w 166"/>
                <a:gd name="T19" fmla="*/ 1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66"/>
                  </a:moveTo>
                  <a:cubicBezTo>
                    <a:pt x="38" y="166"/>
                    <a:pt x="0" y="129"/>
                    <a:pt x="0" y="83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  <a:moveTo>
                    <a:pt x="83" y="14"/>
                  </a:moveTo>
                  <a:cubicBezTo>
                    <a:pt x="46" y="14"/>
                    <a:pt x="15" y="45"/>
                    <a:pt x="15" y="83"/>
                  </a:cubicBezTo>
                  <a:cubicBezTo>
                    <a:pt x="15" y="121"/>
                    <a:pt x="46" y="152"/>
                    <a:pt x="83" y="152"/>
                  </a:cubicBezTo>
                  <a:cubicBezTo>
                    <a:pt x="121" y="152"/>
                    <a:pt x="152" y="121"/>
                    <a:pt x="152" y="83"/>
                  </a:cubicBezTo>
                  <a:cubicBezTo>
                    <a:pt x="152" y="45"/>
                    <a:pt x="121" y="14"/>
                    <a:pt x="8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íṣ1iḑê"/>
            <p:cNvSpPr/>
            <p:nvPr/>
          </p:nvSpPr>
          <p:spPr bwMode="auto">
            <a:xfrm>
              <a:off x="4714875" y="2935288"/>
              <a:ext cx="1012825" cy="1011238"/>
            </a:xfrm>
            <a:custGeom>
              <a:avLst/>
              <a:gdLst>
                <a:gd name="T0" fmla="*/ 236 w 265"/>
                <a:gd name="T1" fmla="*/ 79 h 265"/>
                <a:gd name="T2" fmla="*/ 240 w 265"/>
                <a:gd name="T3" fmla="*/ 64 h 265"/>
                <a:gd name="T4" fmla="*/ 236 w 265"/>
                <a:gd name="T5" fmla="*/ 49 h 265"/>
                <a:gd name="T6" fmla="*/ 226 w 265"/>
                <a:gd name="T7" fmla="*/ 39 h 265"/>
                <a:gd name="T8" fmla="*/ 216 w 265"/>
                <a:gd name="T9" fmla="*/ 29 h 265"/>
                <a:gd name="T10" fmla="*/ 200 w 265"/>
                <a:gd name="T11" fmla="*/ 25 h 265"/>
                <a:gd name="T12" fmla="*/ 186 w 265"/>
                <a:gd name="T13" fmla="*/ 29 h 265"/>
                <a:gd name="T14" fmla="*/ 168 w 265"/>
                <a:gd name="T15" fmla="*/ 21 h 265"/>
                <a:gd name="T16" fmla="*/ 160 w 265"/>
                <a:gd name="T17" fmla="*/ 8 h 265"/>
                <a:gd name="T18" fmla="*/ 146 w 265"/>
                <a:gd name="T19" fmla="*/ 0 h 265"/>
                <a:gd name="T20" fmla="*/ 132 w 265"/>
                <a:gd name="T21" fmla="*/ 0 h 265"/>
                <a:gd name="T22" fmla="*/ 118 w 265"/>
                <a:gd name="T23" fmla="*/ 0 h 265"/>
                <a:gd name="T24" fmla="*/ 104 w 265"/>
                <a:gd name="T25" fmla="*/ 8 h 265"/>
                <a:gd name="T26" fmla="*/ 97 w 265"/>
                <a:gd name="T27" fmla="*/ 21 h 265"/>
                <a:gd name="T28" fmla="*/ 79 w 265"/>
                <a:gd name="T29" fmla="*/ 29 h 265"/>
                <a:gd name="T30" fmla="*/ 64 w 265"/>
                <a:gd name="T31" fmla="*/ 25 h 265"/>
                <a:gd name="T32" fmla="*/ 48 w 265"/>
                <a:gd name="T33" fmla="*/ 29 h 265"/>
                <a:gd name="T34" fmla="*/ 38 w 265"/>
                <a:gd name="T35" fmla="*/ 39 h 265"/>
                <a:gd name="T36" fmla="*/ 28 w 265"/>
                <a:gd name="T37" fmla="*/ 49 h 265"/>
                <a:gd name="T38" fmla="*/ 24 w 265"/>
                <a:gd name="T39" fmla="*/ 64 h 265"/>
                <a:gd name="T40" fmla="*/ 28 w 265"/>
                <a:gd name="T41" fmla="*/ 79 h 265"/>
                <a:gd name="T42" fmla="*/ 21 w 265"/>
                <a:gd name="T43" fmla="*/ 97 h 265"/>
                <a:gd name="T44" fmla="*/ 8 w 265"/>
                <a:gd name="T45" fmla="*/ 104 h 265"/>
                <a:gd name="T46" fmla="*/ 0 w 265"/>
                <a:gd name="T47" fmla="*/ 118 h 265"/>
                <a:gd name="T48" fmla="*/ 0 w 265"/>
                <a:gd name="T49" fmla="*/ 132 h 265"/>
                <a:gd name="T50" fmla="*/ 0 w 265"/>
                <a:gd name="T51" fmla="*/ 147 h 265"/>
                <a:gd name="T52" fmla="*/ 8 w 265"/>
                <a:gd name="T53" fmla="*/ 160 h 265"/>
                <a:gd name="T54" fmla="*/ 21 w 265"/>
                <a:gd name="T55" fmla="*/ 168 h 265"/>
                <a:gd name="T56" fmla="*/ 28 w 265"/>
                <a:gd name="T57" fmla="*/ 186 h 265"/>
                <a:gd name="T58" fmla="*/ 24 w 265"/>
                <a:gd name="T59" fmla="*/ 200 h 265"/>
                <a:gd name="T60" fmla="*/ 28 w 265"/>
                <a:gd name="T61" fmla="*/ 216 h 265"/>
                <a:gd name="T62" fmla="*/ 38 w 265"/>
                <a:gd name="T63" fmla="*/ 226 h 265"/>
                <a:gd name="T64" fmla="*/ 48 w 265"/>
                <a:gd name="T65" fmla="*/ 236 h 265"/>
                <a:gd name="T66" fmla="*/ 64 w 265"/>
                <a:gd name="T67" fmla="*/ 240 h 265"/>
                <a:gd name="T68" fmla="*/ 79 w 265"/>
                <a:gd name="T69" fmla="*/ 236 h 265"/>
                <a:gd name="T70" fmla="*/ 97 w 265"/>
                <a:gd name="T71" fmla="*/ 244 h 265"/>
                <a:gd name="T72" fmla="*/ 104 w 265"/>
                <a:gd name="T73" fmla="*/ 257 h 265"/>
                <a:gd name="T74" fmla="*/ 118 w 265"/>
                <a:gd name="T75" fmla="*/ 265 h 265"/>
                <a:gd name="T76" fmla="*/ 132 w 265"/>
                <a:gd name="T77" fmla="*/ 265 h 265"/>
                <a:gd name="T78" fmla="*/ 146 w 265"/>
                <a:gd name="T79" fmla="*/ 265 h 265"/>
                <a:gd name="T80" fmla="*/ 160 w 265"/>
                <a:gd name="T81" fmla="*/ 257 h 265"/>
                <a:gd name="T82" fmla="*/ 168 w 265"/>
                <a:gd name="T83" fmla="*/ 244 h 265"/>
                <a:gd name="T84" fmla="*/ 186 w 265"/>
                <a:gd name="T85" fmla="*/ 236 h 265"/>
                <a:gd name="T86" fmla="*/ 200 w 265"/>
                <a:gd name="T87" fmla="*/ 240 h 265"/>
                <a:gd name="T88" fmla="*/ 216 w 265"/>
                <a:gd name="T89" fmla="*/ 236 h 265"/>
                <a:gd name="T90" fmla="*/ 226 w 265"/>
                <a:gd name="T91" fmla="*/ 226 h 265"/>
                <a:gd name="T92" fmla="*/ 236 w 265"/>
                <a:gd name="T93" fmla="*/ 216 h 265"/>
                <a:gd name="T94" fmla="*/ 240 w 265"/>
                <a:gd name="T95" fmla="*/ 200 h 265"/>
                <a:gd name="T96" fmla="*/ 236 w 265"/>
                <a:gd name="T97" fmla="*/ 186 h 265"/>
                <a:gd name="T98" fmla="*/ 243 w 265"/>
                <a:gd name="T99" fmla="*/ 168 h 265"/>
                <a:gd name="T100" fmla="*/ 256 w 265"/>
                <a:gd name="T101" fmla="*/ 160 h 265"/>
                <a:gd name="T102" fmla="*/ 265 w 265"/>
                <a:gd name="T103" fmla="*/ 147 h 265"/>
                <a:gd name="T104" fmla="*/ 265 w 265"/>
                <a:gd name="T105" fmla="*/ 132 h 265"/>
                <a:gd name="T106" fmla="*/ 265 w 265"/>
                <a:gd name="T107" fmla="*/ 118 h 265"/>
                <a:gd name="T108" fmla="*/ 256 w 265"/>
                <a:gd name="T109" fmla="*/ 104 h 265"/>
                <a:gd name="T110" fmla="*/ 243 w 265"/>
                <a:gd name="T111" fmla="*/ 97 h 265"/>
                <a:gd name="T112" fmla="*/ 236 w 265"/>
                <a:gd name="T113" fmla="*/ 7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5" h="265">
                  <a:moveTo>
                    <a:pt x="236" y="79"/>
                  </a:moveTo>
                  <a:cubicBezTo>
                    <a:pt x="240" y="64"/>
                    <a:pt x="240" y="64"/>
                    <a:pt x="240" y="64"/>
                  </a:cubicBezTo>
                  <a:cubicBezTo>
                    <a:pt x="241" y="59"/>
                    <a:pt x="240" y="53"/>
                    <a:pt x="236" y="49"/>
                  </a:cubicBezTo>
                  <a:cubicBezTo>
                    <a:pt x="226" y="39"/>
                    <a:pt x="226" y="39"/>
                    <a:pt x="226" y="39"/>
                  </a:cubicBezTo>
                  <a:cubicBezTo>
                    <a:pt x="216" y="29"/>
                    <a:pt x="216" y="29"/>
                    <a:pt x="216" y="29"/>
                  </a:cubicBezTo>
                  <a:cubicBezTo>
                    <a:pt x="212" y="25"/>
                    <a:pt x="206" y="23"/>
                    <a:pt x="200" y="2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79" y="31"/>
                    <a:pt x="171" y="28"/>
                    <a:pt x="168" y="21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57" y="3"/>
                    <a:pt x="152" y="0"/>
                    <a:pt x="146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2" y="0"/>
                    <a:pt x="107" y="3"/>
                    <a:pt x="104" y="8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3" y="28"/>
                    <a:pt x="86" y="31"/>
                    <a:pt x="79" y="29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58" y="23"/>
                    <a:pt x="53" y="25"/>
                    <a:pt x="48" y="2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4" y="53"/>
                    <a:pt x="23" y="59"/>
                    <a:pt x="24" y="64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0" y="86"/>
                    <a:pt x="27" y="93"/>
                    <a:pt x="21" y="97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3" y="107"/>
                    <a:pt x="0" y="112"/>
                    <a:pt x="0" y="118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2"/>
                    <a:pt x="3" y="158"/>
                    <a:pt x="8" y="160"/>
                  </a:cubicBezTo>
                  <a:cubicBezTo>
                    <a:pt x="21" y="168"/>
                    <a:pt x="21" y="168"/>
                    <a:pt x="21" y="168"/>
                  </a:cubicBezTo>
                  <a:cubicBezTo>
                    <a:pt x="27" y="171"/>
                    <a:pt x="30" y="179"/>
                    <a:pt x="28" y="186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23" y="206"/>
                    <a:pt x="24" y="212"/>
                    <a:pt x="28" y="21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8" y="236"/>
                    <a:pt x="48" y="236"/>
                    <a:pt x="48" y="236"/>
                  </a:cubicBezTo>
                  <a:cubicBezTo>
                    <a:pt x="53" y="240"/>
                    <a:pt x="58" y="242"/>
                    <a:pt x="64" y="240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86" y="234"/>
                    <a:pt x="93" y="237"/>
                    <a:pt x="97" y="244"/>
                  </a:cubicBezTo>
                  <a:cubicBezTo>
                    <a:pt x="104" y="257"/>
                    <a:pt x="104" y="257"/>
                    <a:pt x="104" y="257"/>
                  </a:cubicBezTo>
                  <a:cubicBezTo>
                    <a:pt x="107" y="262"/>
                    <a:pt x="112" y="265"/>
                    <a:pt x="118" y="265"/>
                  </a:cubicBezTo>
                  <a:cubicBezTo>
                    <a:pt x="132" y="265"/>
                    <a:pt x="132" y="265"/>
                    <a:pt x="132" y="265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52" y="265"/>
                    <a:pt x="157" y="262"/>
                    <a:pt x="160" y="257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71" y="237"/>
                    <a:pt x="179" y="234"/>
                    <a:pt x="186" y="236"/>
                  </a:cubicBezTo>
                  <a:cubicBezTo>
                    <a:pt x="200" y="240"/>
                    <a:pt x="200" y="240"/>
                    <a:pt x="200" y="240"/>
                  </a:cubicBezTo>
                  <a:cubicBezTo>
                    <a:pt x="206" y="242"/>
                    <a:pt x="212" y="240"/>
                    <a:pt x="216" y="236"/>
                  </a:cubicBezTo>
                  <a:cubicBezTo>
                    <a:pt x="226" y="226"/>
                    <a:pt x="226" y="226"/>
                    <a:pt x="226" y="226"/>
                  </a:cubicBezTo>
                  <a:cubicBezTo>
                    <a:pt x="236" y="216"/>
                    <a:pt x="236" y="216"/>
                    <a:pt x="236" y="216"/>
                  </a:cubicBezTo>
                  <a:cubicBezTo>
                    <a:pt x="240" y="212"/>
                    <a:pt x="241" y="206"/>
                    <a:pt x="240" y="200"/>
                  </a:cubicBezTo>
                  <a:cubicBezTo>
                    <a:pt x="236" y="186"/>
                    <a:pt x="236" y="186"/>
                    <a:pt x="236" y="186"/>
                  </a:cubicBezTo>
                  <a:cubicBezTo>
                    <a:pt x="234" y="179"/>
                    <a:pt x="237" y="171"/>
                    <a:pt x="243" y="168"/>
                  </a:cubicBezTo>
                  <a:cubicBezTo>
                    <a:pt x="256" y="160"/>
                    <a:pt x="256" y="160"/>
                    <a:pt x="256" y="160"/>
                  </a:cubicBezTo>
                  <a:cubicBezTo>
                    <a:pt x="261" y="158"/>
                    <a:pt x="265" y="152"/>
                    <a:pt x="265" y="147"/>
                  </a:cubicBezTo>
                  <a:cubicBezTo>
                    <a:pt x="265" y="132"/>
                    <a:pt x="265" y="132"/>
                    <a:pt x="265" y="132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65" y="112"/>
                    <a:pt x="261" y="107"/>
                    <a:pt x="256" y="104"/>
                  </a:cubicBezTo>
                  <a:cubicBezTo>
                    <a:pt x="243" y="97"/>
                    <a:pt x="243" y="97"/>
                    <a:pt x="243" y="97"/>
                  </a:cubicBezTo>
                  <a:cubicBezTo>
                    <a:pt x="237" y="93"/>
                    <a:pt x="234" y="86"/>
                    <a:pt x="236" y="79"/>
                  </a:cubicBezTo>
                  <a:close/>
                </a:path>
              </a:pathLst>
            </a:custGeom>
            <a:solidFill>
              <a:srgbClr val="FFD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iṧ1ídé"/>
            <p:cNvSpPr/>
            <p:nvPr/>
          </p:nvSpPr>
          <p:spPr bwMode="auto">
            <a:xfrm>
              <a:off x="5075238" y="3297238"/>
              <a:ext cx="288925" cy="290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íṥḻïḓe"/>
            <p:cNvSpPr/>
            <p:nvPr/>
          </p:nvSpPr>
          <p:spPr bwMode="auto">
            <a:xfrm>
              <a:off x="4940300" y="3163888"/>
              <a:ext cx="558800" cy="557213"/>
            </a:xfrm>
            <a:custGeom>
              <a:avLst/>
              <a:gdLst>
                <a:gd name="T0" fmla="*/ 73 w 146"/>
                <a:gd name="T1" fmla="*/ 146 h 146"/>
                <a:gd name="T2" fmla="*/ 0 w 146"/>
                <a:gd name="T3" fmla="*/ 73 h 146"/>
                <a:gd name="T4" fmla="*/ 73 w 146"/>
                <a:gd name="T5" fmla="*/ 0 h 146"/>
                <a:gd name="T6" fmla="*/ 146 w 146"/>
                <a:gd name="T7" fmla="*/ 73 h 146"/>
                <a:gd name="T8" fmla="*/ 73 w 146"/>
                <a:gd name="T9" fmla="*/ 146 h 146"/>
                <a:gd name="T10" fmla="*/ 73 w 146"/>
                <a:gd name="T11" fmla="*/ 4 h 146"/>
                <a:gd name="T12" fmla="*/ 4 w 146"/>
                <a:gd name="T13" fmla="*/ 73 h 146"/>
                <a:gd name="T14" fmla="*/ 73 w 146"/>
                <a:gd name="T15" fmla="*/ 142 h 146"/>
                <a:gd name="T16" fmla="*/ 142 w 146"/>
                <a:gd name="T17" fmla="*/ 73 h 146"/>
                <a:gd name="T18" fmla="*/ 73 w 146"/>
                <a:gd name="T19" fmla="*/ 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146">
                  <a:moveTo>
                    <a:pt x="73" y="146"/>
                  </a:moveTo>
                  <a:cubicBezTo>
                    <a:pt x="33" y="146"/>
                    <a:pt x="0" y="114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114"/>
                    <a:pt x="113" y="146"/>
                    <a:pt x="73" y="146"/>
                  </a:cubicBezTo>
                  <a:close/>
                  <a:moveTo>
                    <a:pt x="73" y="4"/>
                  </a:moveTo>
                  <a:cubicBezTo>
                    <a:pt x="35" y="4"/>
                    <a:pt x="4" y="35"/>
                    <a:pt x="4" y="73"/>
                  </a:cubicBezTo>
                  <a:cubicBezTo>
                    <a:pt x="4" y="111"/>
                    <a:pt x="35" y="142"/>
                    <a:pt x="73" y="142"/>
                  </a:cubicBezTo>
                  <a:cubicBezTo>
                    <a:pt x="111" y="142"/>
                    <a:pt x="142" y="111"/>
                    <a:pt x="142" y="73"/>
                  </a:cubicBezTo>
                  <a:cubicBezTo>
                    <a:pt x="142" y="35"/>
                    <a:pt x="111" y="4"/>
                    <a:pt x="7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ïś1iḓé"/>
            <p:cNvSpPr/>
            <p:nvPr/>
          </p:nvSpPr>
          <p:spPr bwMode="auto">
            <a:xfrm>
              <a:off x="4994275" y="3217863"/>
              <a:ext cx="450850" cy="449263"/>
            </a:xfrm>
            <a:custGeom>
              <a:avLst/>
              <a:gdLst>
                <a:gd name="T0" fmla="*/ 59 w 118"/>
                <a:gd name="T1" fmla="*/ 118 h 118"/>
                <a:gd name="T2" fmla="*/ 0 w 118"/>
                <a:gd name="T3" fmla="*/ 59 h 118"/>
                <a:gd name="T4" fmla="*/ 59 w 118"/>
                <a:gd name="T5" fmla="*/ 0 h 118"/>
                <a:gd name="T6" fmla="*/ 118 w 118"/>
                <a:gd name="T7" fmla="*/ 59 h 118"/>
                <a:gd name="T8" fmla="*/ 59 w 118"/>
                <a:gd name="T9" fmla="*/ 118 h 118"/>
                <a:gd name="T10" fmla="*/ 59 w 118"/>
                <a:gd name="T11" fmla="*/ 11 h 118"/>
                <a:gd name="T12" fmla="*/ 11 w 118"/>
                <a:gd name="T13" fmla="*/ 59 h 118"/>
                <a:gd name="T14" fmla="*/ 59 w 118"/>
                <a:gd name="T15" fmla="*/ 108 h 118"/>
                <a:gd name="T16" fmla="*/ 108 w 118"/>
                <a:gd name="T17" fmla="*/ 59 h 118"/>
                <a:gd name="T18" fmla="*/ 59 w 118"/>
                <a:gd name="T19" fmla="*/ 1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8">
                  <a:moveTo>
                    <a:pt x="59" y="118"/>
                  </a:moveTo>
                  <a:cubicBezTo>
                    <a:pt x="27" y="118"/>
                    <a:pt x="0" y="92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92" y="0"/>
                    <a:pt x="118" y="27"/>
                    <a:pt x="118" y="59"/>
                  </a:cubicBezTo>
                  <a:cubicBezTo>
                    <a:pt x="118" y="92"/>
                    <a:pt x="92" y="118"/>
                    <a:pt x="59" y="118"/>
                  </a:cubicBezTo>
                  <a:close/>
                  <a:moveTo>
                    <a:pt x="59" y="11"/>
                  </a:moveTo>
                  <a:cubicBezTo>
                    <a:pt x="32" y="11"/>
                    <a:pt x="11" y="32"/>
                    <a:pt x="11" y="59"/>
                  </a:cubicBezTo>
                  <a:cubicBezTo>
                    <a:pt x="11" y="86"/>
                    <a:pt x="32" y="108"/>
                    <a:pt x="59" y="108"/>
                  </a:cubicBezTo>
                  <a:cubicBezTo>
                    <a:pt x="86" y="108"/>
                    <a:pt x="108" y="86"/>
                    <a:pt x="108" y="59"/>
                  </a:cubicBezTo>
                  <a:cubicBezTo>
                    <a:pt x="108" y="32"/>
                    <a:pt x="86" y="11"/>
                    <a:pt x="59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íṣļîďé"/>
            <p:cNvSpPr/>
            <p:nvPr/>
          </p:nvSpPr>
          <p:spPr bwMode="auto">
            <a:xfrm>
              <a:off x="6961188" y="2724150"/>
              <a:ext cx="1011238" cy="1008063"/>
            </a:xfrm>
            <a:custGeom>
              <a:avLst/>
              <a:gdLst>
                <a:gd name="T0" fmla="*/ 236 w 265"/>
                <a:gd name="T1" fmla="*/ 78 h 264"/>
                <a:gd name="T2" fmla="*/ 240 w 265"/>
                <a:gd name="T3" fmla="*/ 64 h 264"/>
                <a:gd name="T4" fmla="*/ 236 w 265"/>
                <a:gd name="T5" fmla="*/ 48 h 264"/>
                <a:gd name="T6" fmla="*/ 226 w 265"/>
                <a:gd name="T7" fmla="*/ 38 h 264"/>
                <a:gd name="T8" fmla="*/ 216 w 265"/>
                <a:gd name="T9" fmla="*/ 28 h 264"/>
                <a:gd name="T10" fmla="*/ 200 w 265"/>
                <a:gd name="T11" fmla="*/ 24 h 264"/>
                <a:gd name="T12" fmla="*/ 186 w 265"/>
                <a:gd name="T13" fmla="*/ 28 h 264"/>
                <a:gd name="T14" fmla="*/ 168 w 265"/>
                <a:gd name="T15" fmla="*/ 21 h 264"/>
                <a:gd name="T16" fmla="*/ 160 w 265"/>
                <a:gd name="T17" fmla="*/ 8 h 264"/>
                <a:gd name="T18" fmla="*/ 146 w 265"/>
                <a:gd name="T19" fmla="*/ 0 h 264"/>
                <a:gd name="T20" fmla="*/ 132 w 265"/>
                <a:gd name="T21" fmla="*/ 0 h 264"/>
                <a:gd name="T22" fmla="*/ 118 w 265"/>
                <a:gd name="T23" fmla="*/ 0 h 264"/>
                <a:gd name="T24" fmla="*/ 104 w 265"/>
                <a:gd name="T25" fmla="*/ 8 h 264"/>
                <a:gd name="T26" fmla="*/ 97 w 265"/>
                <a:gd name="T27" fmla="*/ 21 h 264"/>
                <a:gd name="T28" fmla="*/ 79 w 265"/>
                <a:gd name="T29" fmla="*/ 28 h 264"/>
                <a:gd name="T30" fmla="*/ 64 w 265"/>
                <a:gd name="T31" fmla="*/ 24 h 264"/>
                <a:gd name="T32" fmla="*/ 49 w 265"/>
                <a:gd name="T33" fmla="*/ 28 h 264"/>
                <a:gd name="T34" fmla="*/ 39 w 265"/>
                <a:gd name="T35" fmla="*/ 38 h 264"/>
                <a:gd name="T36" fmla="*/ 28 w 265"/>
                <a:gd name="T37" fmla="*/ 48 h 264"/>
                <a:gd name="T38" fmla="*/ 24 w 265"/>
                <a:gd name="T39" fmla="*/ 64 h 264"/>
                <a:gd name="T40" fmla="*/ 29 w 265"/>
                <a:gd name="T41" fmla="*/ 78 h 264"/>
                <a:gd name="T42" fmla="*/ 21 w 265"/>
                <a:gd name="T43" fmla="*/ 97 h 264"/>
                <a:gd name="T44" fmla="*/ 8 w 265"/>
                <a:gd name="T45" fmla="*/ 104 h 264"/>
                <a:gd name="T46" fmla="*/ 0 w 265"/>
                <a:gd name="T47" fmla="*/ 118 h 264"/>
                <a:gd name="T48" fmla="*/ 0 w 265"/>
                <a:gd name="T49" fmla="*/ 132 h 264"/>
                <a:gd name="T50" fmla="*/ 0 w 265"/>
                <a:gd name="T51" fmla="*/ 146 h 264"/>
                <a:gd name="T52" fmla="*/ 8 w 265"/>
                <a:gd name="T53" fmla="*/ 160 h 264"/>
                <a:gd name="T54" fmla="*/ 21 w 265"/>
                <a:gd name="T55" fmla="*/ 167 h 264"/>
                <a:gd name="T56" fmla="*/ 29 w 265"/>
                <a:gd name="T57" fmla="*/ 186 h 264"/>
                <a:gd name="T58" fmla="*/ 24 w 265"/>
                <a:gd name="T59" fmla="*/ 200 h 264"/>
                <a:gd name="T60" fmla="*/ 28 w 265"/>
                <a:gd name="T61" fmla="*/ 216 h 264"/>
                <a:gd name="T62" fmla="*/ 39 w 265"/>
                <a:gd name="T63" fmla="*/ 226 h 264"/>
                <a:gd name="T64" fmla="*/ 49 w 265"/>
                <a:gd name="T65" fmla="*/ 236 h 264"/>
                <a:gd name="T66" fmla="*/ 64 w 265"/>
                <a:gd name="T67" fmla="*/ 240 h 264"/>
                <a:gd name="T68" fmla="*/ 79 w 265"/>
                <a:gd name="T69" fmla="*/ 236 h 264"/>
                <a:gd name="T70" fmla="*/ 97 w 265"/>
                <a:gd name="T71" fmla="*/ 243 h 264"/>
                <a:gd name="T72" fmla="*/ 104 w 265"/>
                <a:gd name="T73" fmla="*/ 256 h 264"/>
                <a:gd name="T74" fmla="*/ 118 w 265"/>
                <a:gd name="T75" fmla="*/ 264 h 264"/>
                <a:gd name="T76" fmla="*/ 132 w 265"/>
                <a:gd name="T77" fmla="*/ 264 h 264"/>
                <a:gd name="T78" fmla="*/ 146 w 265"/>
                <a:gd name="T79" fmla="*/ 264 h 264"/>
                <a:gd name="T80" fmla="*/ 160 w 265"/>
                <a:gd name="T81" fmla="*/ 256 h 264"/>
                <a:gd name="T82" fmla="*/ 168 w 265"/>
                <a:gd name="T83" fmla="*/ 243 h 264"/>
                <a:gd name="T84" fmla="*/ 186 w 265"/>
                <a:gd name="T85" fmla="*/ 236 h 264"/>
                <a:gd name="T86" fmla="*/ 200 w 265"/>
                <a:gd name="T87" fmla="*/ 240 h 264"/>
                <a:gd name="T88" fmla="*/ 216 w 265"/>
                <a:gd name="T89" fmla="*/ 236 h 264"/>
                <a:gd name="T90" fmla="*/ 226 w 265"/>
                <a:gd name="T91" fmla="*/ 226 h 264"/>
                <a:gd name="T92" fmla="*/ 236 w 265"/>
                <a:gd name="T93" fmla="*/ 216 h 264"/>
                <a:gd name="T94" fmla="*/ 240 w 265"/>
                <a:gd name="T95" fmla="*/ 200 h 264"/>
                <a:gd name="T96" fmla="*/ 236 w 265"/>
                <a:gd name="T97" fmla="*/ 186 h 264"/>
                <a:gd name="T98" fmla="*/ 243 w 265"/>
                <a:gd name="T99" fmla="*/ 167 h 264"/>
                <a:gd name="T100" fmla="*/ 257 w 265"/>
                <a:gd name="T101" fmla="*/ 160 h 264"/>
                <a:gd name="T102" fmla="*/ 265 w 265"/>
                <a:gd name="T103" fmla="*/ 146 h 264"/>
                <a:gd name="T104" fmla="*/ 265 w 265"/>
                <a:gd name="T105" fmla="*/ 132 h 264"/>
                <a:gd name="T106" fmla="*/ 265 w 265"/>
                <a:gd name="T107" fmla="*/ 118 h 264"/>
                <a:gd name="T108" fmla="*/ 257 w 265"/>
                <a:gd name="T109" fmla="*/ 104 h 264"/>
                <a:gd name="T110" fmla="*/ 243 w 265"/>
                <a:gd name="T111" fmla="*/ 97 h 264"/>
                <a:gd name="T112" fmla="*/ 236 w 265"/>
                <a:gd name="T113" fmla="*/ 7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5" h="264">
                  <a:moveTo>
                    <a:pt x="236" y="78"/>
                  </a:moveTo>
                  <a:cubicBezTo>
                    <a:pt x="240" y="64"/>
                    <a:pt x="240" y="64"/>
                    <a:pt x="240" y="64"/>
                  </a:cubicBezTo>
                  <a:cubicBezTo>
                    <a:pt x="242" y="58"/>
                    <a:pt x="240" y="52"/>
                    <a:pt x="236" y="4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16" y="28"/>
                    <a:pt x="216" y="28"/>
                    <a:pt x="216" y="28"/>
                  </a:cubicBezTo>
                  <a:cubicBezTo>
                    <a:pt x="212" y="24"/>
                    <a:pt x="206" y="23"/>
                    <a:pt x="200" y="24"/>
                  </a:cubicBezTo>
                  <a:cubicBezTo>
                    <a:pt x="186" y="28"/>
                    <a:pt x="186" y="28"/>
                    <a:pt x="186" y="28"/>
                  </a:cubicBezTo>
                  <a:cubicBezTo>
                    <a:pt x="179" y="30"/>
                    <a:pt x="171" y="27"/>
                    <a:pt x="168" y="21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57" y="3"/>
                    <a:pt x="152" y="0"/>
                    <a:pt x="146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2" y="0"/>
                    <a:pt x="107" y="3"/>
                    <a:pt x="104" y="8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3" y="27"/>
                    <a:pt x="86" y="30"/>
                    <a:pt x="79" y="28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59" y="23"/>
                    <a:pt x="53" y="24"/>
                    <a:pt x="49" y="2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4" y="52"/>
                    <a:pt x="23" y="58"/>
                    <a:pt x="24" y="64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31" y="86"/>
                    <a:pt x="27" y="93"/>
                    <a:pt x="21" y="97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3" y="107"/>
                    <a:pt x="0" y="112"/>
                    <a:pt x="0" y="118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52"/>
                    <a:pt x="3" y="157"/>
                    <a:pt x="8" y="160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7" y="171"/>
                    <a:pt x="31" y="179"/>
                    <a:pt x="29" y="186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23" y="206"/>
                    <a:pt x="24" y="212"/>
                    <a:pt x="28" y="216"/>
                  </a:cubicBezTo>
                  <a:cubicBezTo>
                    <a:pt x="39" y="226"/>
                    <a:pt x="39" y="226"/>
                    <a:pt x="39" y="226"/>
                  </a:cubicBezTo>
                  <a:cubicBezTo>
                    <a:pt x="49" y="236"/>
                    <a:pt x="49" y="236"/>
                    <a:pt x="49" y="236"/>
                  </a:cubicBezTo>
                  <a:cubicBezTo>
                    <a:pt x="53" y="240"/>
                    <a:pt x="59" y="241"/>
                    <a:pt x="64" y="240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86" y="234"/>
                    <a:pt x="93" y="237"/>
                    <a:pt x="97" y="243"/>
                  </a:cubicBezTo>
                  <a:cubicBezTo>
                    <a:pt x="104" y="256"/>
                    <a:pt x="104" y="256"/>
                    <a:pt x="104" y="256"/>
                  </a:cubicBezTo>
                  <a:cubicBezTo>
                    <a:pt x="107" y="261"/>
                    <a:pt x="112" y="264"/>
                    <a:pt x="118" y="264"/>
                  </a:cubicBezTo>
                  <a:cubicBezTo>
                    <a:pt x="132" y="264"/>
                    <a:pt x="132" y="264"/>
                    <a:pt x="132" y="264"/>
                  </a:cubicBezTo>
                  <a:cubicBezTo>
                    <a:pt x="146" y="264"/>
                    <a:pt x="146" y="264"/>
                    <a:pt x="146" y="264"/>
                  </a:cubicBezTo>
                  <a:cubicBezTo>
                    <a:pt x="152" y="264"/>
                    <a:pt x="157" y="261"/>
                    <a:pt x="160" y="256"/>
                  </a:cubicBezTo>
                  <a:cubicBezTo>
                    <a:pt x="168" y="243"/>
                    <a:pt x="168" y="243"/>
                    <a:pt x="168" y="243"/>
                  </a:cubicBezTo>
                  <a:cubicBezTo>
                    <a:pt x="171" y="237"/>
                    <a:pt x="179" y="234"/>
                    <a:pt x="186" y="236"/>
                  </a:cubicBezTo>
                  <a:cubicBezTo>
                    <a:pt x="200" y="240"/>
                    <a:pt x="200" y="240"/>
                    <a:pt x="200" y="240"/>
                  </a:cubicBezTo>
                  <a:cubicBezTo>
                    <a:pt x="206" y="241"/>
                    <a:pt x="212" y="240"/>
                    <a:pt x="216" y="236"/>
                  </a:cubicBezTo>
                  <a:cubicBezTo>
                    <a:pt x="226" y="226"/>
                    <a:pt x="226" y="226"/>
                    <a:pt x="226" y="226"/>
                  </a:cubicBezTo>
                  <a:cubicBezTo>
                    <a:pt x="236" y="216"/>
                    <a:pt x="236" y="216"/>
                    <a:pt x="236" y="216"/>
                  </a:cubicBezTo>
                  <a:cubicBezTo>
                    <a:pt x="240" y="212"/>
                    <a:pt x="242" y="206"/>
                    <a:pt x="240" y="200"/>
                  </a:cubicBezTo>
                  <a:cubicBezTo>
                    <a:pt x="236" y="186"/>
                    <a:pt x="236" y="186"/>
                    <a:pt x="236" y="186"/>
                  </a:cubicBezTo>
                  <a:cubicBezTo>
                    <a:pt x="234" y="179"/>
                    <a:pt x="237" y="171"/>
                    <a:pt x="243" y="167"/>
                  </a:cubicBezTo>
                  <a:cubicBezTo>
                    <a:pt x="257" y="160"/>
                    <a:pt x="257" y="160"/>
                    <a:pt x="257" y="160"/>
                  </a:cubicBezTo>
                  <a:cubicBezTo>
                    <a:pt x="262" y="157"/>
                    <a:pt x="265" y="152"/>
                    <a:pt x="265" y="146"/>
                  </a:cubicBezTo>
                  <a:cubicBezTo>
                    <a:pt x="265" y="132"/>
                    <a:pt x="265" y="132"/>
                    <a:pt x="265" y="132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65" y="112"/>
                    <a:pt x="262" y="107"/>
                    <a:pt x="257" y="104"/>
                  </a:cubicBezTo>
                  <a:cubicBezTo>
                    <a:pt x="243" y="97"/>
                    <a:pt x="243" y="97"/>
                    <a:pt x="243" y="97"/>
                  </a:cubicBezTo>
                  <a:cubicBezTo>
                    <a:pt x="237" y="93"/>
                    <a:pt x="234" y="86"/>
                    <a:pt x="236" y="78"/>
                  </a:cubicBezTo>
                  <a:close/>
                </a:path>
              </a:pathLst>
            </a:custGeom>
            <a:solidFill>
              <a:srgbClr val="FFD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ïsliḓè"/>
            <p:cNvSpPr/>
            <p:nvPr/>
          </p:nvSpPr>
          <p:spPr bwMode="auto">
            <a:xfrm>
              <a:off x="7319963" y="3087688"/>
              <a:ext cx="290513" cy="288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îsľíde"/>
            <p:cNvSpPr/>
            <p:nvPr/>
          </p:nvSpPr>
          <p:spPr bwMode="auto">
            <a:xfrm>
              <a:off x="7186613" y="2954338"/>
              <a:ext cx="557213" cy="557213"/>
            </a:xfrm>
            <a:custGeom>
              <a:avLst/>
              <a:gdLst>
                <a:gd name="T0" fmla="*/ 73 w 146"/>
                <a:gd name="T1" fmla="*/ 146 h 146"/>
                <a:gd name="T2" fmla="*/ 0 w 146"/>
                <a:gd name="T3" fmla="*/ 73 h 146"/>
                <a:gd name="T4" fmla="*/ 73 w 146"/>
                <a:gd name="T5" fmla="*/ 0 h 146"/>
                <a:gd name="T6" fmla="*/ 146 w 146"/>
                <a:gd name="T7" fmla="*/ 73 h 146"/>
                <a:gd name="T8" fmla="*/ 73 w 146"/>
                <a:gd name="T9" fmla="*/ 146 h 146"/>
                <a:gd name="T10" fmla="*/ 73 w 146"/>
                <a:gd name="T11" fmla="*/ 4 h 146"/>
                <a:gd name="T12" fmla="*/ 4 w 146"/>
                <a:gd name="T13" fmla="*/ 73 h 146"/>
                <a:gd name="T14" fmla="*/ 73 w 146"/>
                <a:gd name="T15" fmla="*/ 142 h 146"/>
                <a:gd name="T16" fmla="*/ 142 w 146"/>
                <a:gd name="T17" fmla="*/ 73 h 146"/>
                <a:gd name="T18" fmla="*/ 73 w 146"/>
                <a:gd name="T19" fmla="*/ 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146">
                  <a:moveTo>
                    <a:pt x="73" y="146"/>
                  </a:moveTo>
                  <a:cubicBezTo>
                    <a:pt x="33" y="146"/>
                    <a:pt x="0" y="11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4" y="0"/>
                    <a:pt x="146" y="33"/>
                    <a:pt x="146" y="73"/>
                  </a:cubicBezTo>
                  <a:cubicBezTo>
                    <a:pt x="146" y="113"/>
                    <a:pt x="114" y="146"/>
                    <a:pt x="73" y="146"/>
                  </a:cubicBezTo>
                  <a:close/>
                  <a:moveTo>
                    <a:pt x="73" y="4"/>
                  </a:moveTo>
                  <a:cubicBezTo>
                    <a:pt x="35" y="4"/>
                    <a:pt x="4" y="35"/>
                    <a:pt x="4" y="73"/>
                  </a:cubicBezTo>
                  <a:cubicBezTo>
                    <a:pt x="4" y="111"/>
                    <a:pt x="35" y="142"/>
                    <a:pt x="73" y="142"/>
                  </a:cubicBezTo>
                  <a:cubicBezTo>
                    <a:pt x="111" y="142"/>
                    <a:pt x="142" y="111"/>
                    <a:pt x="142" y="73"/>
                  </a:cubicBezTo>
                  <a:cubicBezTo>
                    <a:pt x="142" y="35"/>
                    <a:pt x="111" y="4"/>
                    <a:pt x="7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íṧlïḍé"/>
            <p:cNvSpPr/>
            <p:nvPr/>
          </p:nvSpPr>
          <p:spPr bwMode="auto">
            <a:xfrm>
              <a:off x="7239000" y="3006725"/>
              <a:ext cx="450850" cy="450850"/>
            </a:xfrm>
            <a:custGeom>
              <a:avLst/>
              <a:gdLst>
                <a:gd name="T0" fmla="*/ 59 w 118"/>
                <a:gd name="T1" fmla="*/ 118 h 118"/>
                <a:gd name="T2" fmla="*/ 0 w 118"/>
                <a:gd name="T3" fmla="*/ 59 h 118"/>
                <a:gd name="T4" fmla="*/ 59 w 118"/>
                <a:gd name="T5" fmla="*/ 0 h 118"/>
                <a:gd name="T6" fmla="*/ 118 w 118"/>
                <a:gd name="T7" fmla="*/ 59 h 118"/>
                <a:gd name="T8" fmla="*/ 59 w 118"/>
                <a:gd name="T9" fmla="*/ 118 h 118"/>
                <a:gd name="T10" fmla="*/ 59 w 118"/>
                <a:gd name="T11" fmla="*/ 10 h 118"/>
                <a:gd name="T12" fmla="*/ 11 w 118"/>
                <a:gd name="T13" fmla="*/ 59 h 118"/>
                <a:gd name="T14" fmla="*/ 59 w 118"/>
                <a:gd name="T15" fmla="*/ 107 h 118"/>
                <a:gd name="T16" fmla="*/ 108 w 118"/>
                <a:gd name="T17" fmla="*/ 59 h 118"/>
                <a:gd name="T18" fmla="*/ 59 w 118"/>
                <a:gd name="T19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8">
                  <a:moveTo>
                    <a:pt x="59" y="118"/>
                  </a:moveTo>
                  <a:cubicBezTo>
                    <a:pt x="27" y="118"/>
                    <a:pt x="0" y="91"/>
                    <a:pt x="0" y="59"/>
                  </a:cubicBezTo>
                  <a:cubicBezTo>
                    <a:pt x="0" y="26"/>
                    <a:pt x="27" y="0"/>
                    <a:pt x="59" y="0"/>
                  </a:cubicBezTo>
                  <a:cubicBezTo>
                    <a:pt x="92" y="0"/>
                    <a:pt x="118" y="26"/>
                    <a:pt x="118" y="59"/>
                  </a:cubicBezTo>
                  <a:cubicBezTo>
                    <a:pt x="118" y="91"/>
                    <a:pt x="92" y="118"/>
                    <a:pt x="59" y="118"/>
                  </a:cubicBezTo>
                  <a:close/>
                  <a:moveTo>
                    <a:pt x="59" y="10"/>
                  </a:moveTo>
                  <a:cubicBezTo>
                    <a:pt x="32" y="10"/>
                    <a:pt x="11" y="32"/>
                    <a:pt x="11" y="59"/>
                  </a:cubicBezTo>
                  <a:cubicBezTo>
                    <a:pt x="11" y="86"/>
                    <a:pt x="32" y="107"/>
                    <a:pt x="59" y="107"/>
                  </a:cubicBezTo>
                  <a:cubicBezTo>
                    <a:pt x="86" y="107"/>
                    <a:pt x="108" y="86"/>
                    <a:pt x="108" y="59"/>
                  </a:cubicBezTo>
                  <a:cubicBezTo>
                    <a:pt x="108" y="32"/>
                    <a:pt x="86" y="10"/>
                    <a:pt x="5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5" name="íşľíḑé"/>
            <p:cNvSpPr/>
            <p:nvPr/>
          </p:nvSpPr>
          <p:spPr bwMode="auto">
            <a:xfrm>
              <a:off x="8281988" y="4156075"/>
              <a:ext cx="576263" cy="1328738"/>
            </a:xfrm>
            <a:custGeom>
              <a:avLst/>
              <a:gdLst>
                <a:gd name="T0" fmla="*/ 45 w 151"/>
                <a:gd name="T1" fmla="*/ 0 h 348"/>
                <a:gd name="T2" fmla="*/ 0 w 151"/>
                <a:gd name="T3" fmla="*/ 348 h 348"/>
                <a:gd name="T4" fmla="*/ 38 w 151"/>
                <a:gd name="T5" fmla="*/ 348 h 348"/>
                <a:gd name="T6" fmla="*/ 151 w 151"/>
                <a:gd name="T7" fmla="*/ 25 h 348"/>
                <a:gd name="T8" fmla="*/ 45 w 151"/>
                <a:gd name="T9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348">
                  <a:moveTo>
                    <a:pt x="45" y="0"/>
                  </a:moveTo>
                  <a:cubicBezTo>
                    <a:pt x="45" y="0"/>
                    <a:pt x="14" y="211"/>
                    <a:pt x="0" y="348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38" y="348"/>
                    <a:pt x="78" y="147"/>
                    <a:pt x="151" y="25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6" name="ï$ḷíďê"/>
            <p:cNvSpPr/>
            <p:nvPr/>
          </p:nvSpPr>
          <p:spPr bwMode="auto">
            <a:xfrm>
              <a:off x="8575675" y="3984625"/>
              <a:ext cx="558800" cy="1492250"/>
            </a:xfrm>
            <a:custGeom>
              <a:avLst/>
              <a:gdLst>
                <a:gd name="T0" fmla="*/ 0 w 146"/>
                <a:gd name="T1" fmla="*/ 4 h 391"/>
                <a:gd name="T2" fmla="*/ 69 w 146"/>
                <a:gd name="T3" fmla="*/ 235 h 391"/>
                <a:gd name="T4" fmla="*/ 104 w 146"/>
                <a:gd name="T5" fmla="*/ 391 h 391"/>
                <a:gd name="T6" fmla="*/ 146 w 146"/>
                <a:gd name="T7" fmla="*/ 391 h 391"/>
                <a:gd name="T8" fmla="*/ 96 w 146"/>
                <a:gd name="T9" fmla="*/ 0 h 391"/>
                <a:gd name="T10" fmla="*/ 0 w 146"/>
                <a:gd name="T11" fmla="*/ 4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391">
                  <a:moveTo>
                    <a:pt x="0" y="4"/>
                  </a:moveTo>
                  <a:cubicBezTo>
                    <a:pt x="0" y="4"/>
                    <a:pt x="51" y="168"/>
                    <a:pt x="69" y="235"/>
                  </a:cubicBezTo>
                  <a:cubicBezTo>
                    <a:pt x="87" y="303"/>
                    <a:pt x="104" y="391"/>
                    <a:pt x="104" y="391"/>
                  </a:cubicBezTo>
                  <a:cubicBezTo>
                    <a:pt x="146" y="391"/>
                    <a:pt x="146" y="391"/>
                    <a:pt x="146" y="391"/>
                  </a:cubicBezTo>
                  <a:cubicBezTo>
                    <a:pt x="146" y="391"/>
                    <a:pt x="118" y="86"/>
                    <a:pt x="96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7" name="íṣḻíḍê"/>
            <p:cNvSpPr/>
            <p:nvPr/>
          </p:nvSpPr>
          <p:spPr bwMode="auto">
            <a:xfrm>
              <a:off x="7496175" y="3552825"/>
              <a:ext cx="179388" cy="80963"/>
            </a:xfrm>
            <a:custGeom>
              <a:avLst/>
              <a:gdLst>
                <a:gd name="T0" fmla="*/ 47 w 47"/>
                <a:gd name="T1" fmla="*/ 0 h 21"/>
                <a:gd name="T2" fmla="*/ 11 w 47"/>
                <a:gd name="T3" fmla="*/ 1 h 21"/>
                <a:gd name="T4" fmla="*/ 6 w 47"/>
                <a:gd name="T5" fmla="*/ 16 h 21"/>
                <a:gd name="T6" fmla="*/ 47 w 47"/>
                <a:gd name="T7" fmla="*/ 21 h 21"/>
                <a:gd name="T8" fmla="*/ 47 w 4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1">
                  <a:moveTo>
                    <a:pt x="47" y="0"/>
                  </a:moveTo>
                  <a:cubicBezTo>
                    <a:pt x="47" y="0"/>
                    <a:pt x="20" y="2"/>
                    <a:pt x="11" y="1"/>
                  </a:cubicBezTo>
                  <a:cubicBezTo>
                    <a:pt x="1" y="0"/>
                    <a:pt x="0" y="10"/>
                    <a:pt x="6" y="16"/>
                  </a:cubicBezTo>
                  <a:cubicBezTo>
                    <a:pt x="13" y="21"/>
                    <a:pt x="47" y="21"/>
                    <a:pt x="47" y="21"/>
                  </a:cubicBezTo>
                  <a:lnTo>
                    <a:pt x="47" y="0"/>
                  </a:lnTo>
                  <a:close/>
                </a:path>
              </a:pathLst>
            </a:custGeom>
            <a:solidFill>
              <a:srgbClr val="FC99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8" name="ísḷíḍé"/>
            <p:cNvSpPr/>
            <p:nvPr/>
          </p:nvSpPr>
          <p:spPr bwMode="auto">
            <a:xfrm>
              <a:off x="7656513" y="3343275"/>
              <a:ext cx="908050" cy="271463"/>
            </a:xfrm>
            <a:custGeom>
              <a:avLst/>
              <a:gdLst>
                <a:gd name="T0" fmla="*/ 232 w 238"/>
                <a:gd name="T1" fmla="*/ 0 h 71"/>
                <a:gd name="T2" fmla="*/ 1 w 238"/>
                <a:gd name="T3" fmla="*/ 53 h 71"/>
                <a:gd name="T4" fmla="*/ 0 w 238"/>
                <a:gd name="T5" fmla="*/ 71 h 71"/>
                <a:gd name="T6" fmla="*/ 238 w 238"/>
                <a:gd name="T7" fmla="*/ 44 h 71"/>
                <a:gd name="T8" fmla="*/ 232 w 238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71">
                  <a:moveTo>
                    <a:pt x="232" y="0"/>
                  </a:moveTo>
                  <a:cubicBezTo>
                    <a:pt x="232" y="0"/>
                    <a:pt x="108" y="44"/>
                    <a:pt x="1" y="5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38" y="44"/>
                    <a:pt x="238" y="44"/>
                    <a:pt x="238" y="44"/>
                  </a:cubicBezTo>
                  <a:lnTo>
                    <a:pt x="232" y="0"/>
                  </a:lnTo>
                  <a:close/>
                </a:path>
              </a:pathLst>
            </a:custGeom>
            <a:solidFill>
              <a:srgbClr val="006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9" name="îṣlïḓê"/>
            <p:cNvSpPr/>
            <p:nvPr/>
          </p:nvSpPr>
          <p:spPr bwMode="auto">
            <a:xfrm>
              <a:off x="7480300" y="3560763"/>
              <a:ext cx="214313" cy="106363"/>
            </a:xfrm>
            <a:custGeom>
              <a:avLst/>
              <a:gdLst>
                <a:gd name="T0" fmla="*/ 56 w 56"/>
                <a:gd name="T1" fmla="*/ 2 h 28"/>
                <a:gd name="T2" fmla="*/ 30 w 56"/>
                <a:gd name="T3" fmla="*/ 5 h 28"/>
                <a:gd name="T4" fmla="*/ 2 w 56"/>
                <a:gd name="T5" fmla="*/ 7 h 28"/>
                <a:gd name="T6" fmla="*/ 23 w 56"/>
                <a:gd name="T7" fmla="*/ 27 h 28"/>
                <a:gd name="T8" fmla="*/ 55 w 56"/>
                <a:gd name="T9" fmla="*/ 26 h 28"/>
                <a:gd name="T10" fmla="*/ 56 w 56"/>
                <a:gd name="T1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28">
                  <a:moveTo>
                    <a:pt x="56" y="2"/>
                  </a:moveTo>
                  <a:cubicBezTo>
                    <a:pt x="56" y="2"/>
                    <a:pt x="47" y="4"/>
                    <a:pt x="30" y="5"/>
                  </a:cubicBezTo>
                  <a:cubicBezTo>
                    <a:pt x="13" y="6"/>
                    <a:pt x="3" y="0"/>
                    <a:pt x="2" y="7"/>
                  </a:cubicBezTo>
                  <a:cubicBezTo>
                    <a:pt x="0" y="14"/>
                    <a:pt x="12" y="26"/>
                    <a:pt x="23" y="27"/>
                  </a:cubicBezTo>
                  <a:cubicBezTo>
                    <a:pt x="34" y="28"/>
                    <a:pt x="55" y="26"/>
                    <a:pt x="55" y="26"/>
                  </a:cubicBezTo>
                  <a:lnTo>
                    <a:pt x="56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0" name="îślïḋê"/>
            <p:cNvSpPr/>
            <p:nvPr/>
          </p:nvSpPr>
          <p:spPr bwMode="auto">
            <a:xfrm>
              <a:off x="8262938" y="2965450"/>
              <a:ext cx="412750" cy="331788"/>
            </a:xfrm>
            <a:custGeom>
              <a:avLst/>
              <a:gdLst>
                <a:gd name="T0" fmla="*/ 21 w 108"/>
                <a:gd name="T1" fmla="*/ 0 h 87"/>
                <a:gd name="T2" fmla="*/ 0 w 108"/>
                <a:gd name="T3" fmla="*/ 41 h 87"/>
                <a:gd name="T4" fmla="*/ 12 w 108"/>
                <a:gd name="T5" fmla="*/ 41 h 87"/>
                <a:gd name="T6" fmla="*/ 24 w 108"/>
                <a:gd name="T7" fmla="*/ 77 h 87"/>
                <a:gd name="T8" fmla="*/ 62 w 108"/>
                <a:gd name="T9" fmla="*/ 67 h 87"/>
                <a:gd name="T10" fmla="*/ 78 w 108"/>
                <a:gd name="T11" fmla="*/ 81 h 87"/>
                <a:gd name="T12" fmla="*/ 108 w 108"/>
                <a:gd name="T13" fmla="*/ 64 h 87"/>
                <a:gd name="T14" fmla="*/ 91 w 108"/>
                <a:gd name="T15" fmla="*/ 0 h 87"/>
                <a:gd name="T16" fmla="*/ 21 w 108"/>
                <a:gd name="T17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7">
                  <a:moveTo>
                    <a:pt x="21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1"/>
                    <a:pt x="20" y="67"/>
                    <a:pt x="24" y="77"/>
                  </a:cubicBezTo>
                  <a:cubicBezTo>
                    <a:pt x="29" y="87"/>
                    <a:pt x="53" y="68"/>
                    <a:pt x="62" y="67"/>
                  </a:cubicBezTo>
                  <a:cubicBezTo>
                    <a:pt x="70" y="65"/>
                    <a:pt x="78" y="81"/>
                    <a:pt x="78" y="81"/>
                  </a:cubicBezTo>
                  <a:cubicBezTo>
                    <a:pt x="78" y="81"/>
                    <a:pt x="95" y="76"/>
                    <a:pt x="108" y="64"/>
                  </a:cubicBezTo>
                  <a:cubicBezTo>
                    <a:pt x="91" y="0"/>
                    <a:pt x="91" y="0"/>
                    <a:pt x="91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1" name="iṣļíḋé"/>
            <p:cNvSpPr/>
            <p:nvPr/>
          </p:nvSpPr>
          <p:spPr bwMode="auto">
            <a:xfrm>
              <a:off x="8243888" y="2808288"/>
              <a:ext cx="427038" cy="358775"/>
            </a:xfrm>
            <a:custGeom>
              <a:avLst/>
              <a:gdLst>
                <a:gd name="T0" fmla="*/ 24 w 112"/>
                <a:gd name="T1" fmla="*/ 46 h 94"/>
                <a:gd name="T2" fmla="*/ 0 w 112"/>
                <a:gd name="T3" fmla="*/ 29 h 94"/>
                <a:gd name="T4" fmla="*/ 30 w 112"/>
                <a:gd name="T5" fmla="*/ 4 h 94"/>
                <a:gd name="T6" fmla="*/ 88 w 112"/>
                <a:gd name="T7" fmla="*/ 11 h 94"/>
                <a:gd name="T8" fmla="*/ 107 w 112"/>
                <a:gd name="T9" fmla="*/ 45 h 94"/>
                <a:gd name="T10" fmla="*/ 110 w 112"/>
                <a:gd name="T11" fmla="*/ 87 h 94"/>
                <a:gd name="T12" fmla="*/ 101 w 112"/>
                <a:gd name="T13" fmla="*/ 88 h 94"/>
                <a:gd name="T14" fmla="*/ 94 w 112"/>
                <a:gd name="T15" fmla="*/ 72 h 94"/>
                <a:gd name="T16" fmla="*/ 99 w 112"/>
                <a:gd name="T17" fmla="*/ 63 h 94"/>
                <a:gd name="T18" fmla="*/ 82 w 112"/>
                <a:gd name="T19" fmla="*/ 55 h 94"/>
                <a:gd name="T20" fmla="*/ 53 w 112"/>
                <a:gd name="T21" fmla="*/ 55 h 94"/>
                <a:gd name="T22" fmla="*/ 24 w 112"/>
                <a:gd name="T23" fmla="*/ 4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" h="94">
                  <a:moveTo>
                    <a:pt x="24" y="46"/>
                  </a:moveTo>
                  <a:cubicBezTo>
                    <a:pt x="24" y="46"/>
                    <a:pt x="0" y="45"/>
                    <a:pt x="0" y="29"/>
                  </a:cubicBezTo>
                  <a:cubicBezTo>
                    <a:pt x="0" y="12"/>
                    <a:pt x="11" y="0"/>
                    <a:pt x="30" y="4"/>
                  </a:cubicBezTo>
                  <a:cubicBezTo>
                    <a:pt x="50" y="7"/>
                    <a:pt x="73" y="10"/>
                    <a:pt x="88" y="11"/>
                  </a:cubicBezTo>
                  <a:cubicBezTo>
                    <a:pt x="102" y="12"/>
                    <a:pt x="106" y="34"/>
                    <a:pt x="107" y="45"/>
                  </a:cubicBezTo>
                  <a:cubicBezTo>
                    <a:pt x="108" y="57"/>
                    <a:pt x="108" y="83"/>
                    <a:pt x="110" y="87"/>
                  </a:cubicBezTo>
                  <a:cubicBezTo>
                    <a:pt x="112" y="90"/>
                    <a:pt x="104" y="94"/>
                    <a:pt x="101" y="88"/>
                  </a:cubicBezTo>
                  <a:cubicBezTo>
                    <a:pt x="98" y="83"/>
                    <a:pt x="94" y="72"/>
                    <a:pt x="94" y="72"/>
                  </a:cubicBezTo>
                  <a:cubicBezTo>
                    <a:pt x="94" y="72"/>
                    <a:pt x="100" y="71"/>
                    <a:pt x="99" y="63"/>
                  </a:cubicBezTo>
                  <a:cubicBezTo>
                    <a:pt x="97" y="55"/>
                    <a:pt x="93" y="48"/>
                    <a:pt x="82" y="55"/>
                  </a:cubicBezTo>
                  <a:cubicBezTo>
                    <a:pt x="71" y="61"/>
                    <a:pt x="63" y="64"/>
                    <a:pt x="53" y="55"/>
                  </a:cubicBezTo>
                  <a:cubicBezTo>
                    <a:pt x="44" y="47"/>
                    <a:pt x="36" y="46"/>
                    <a:pt x="24" y="46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î$líďè"/>
            <p:cNvSpPr/>
            <p:nvPr/>
          </p:nvSpPr>
          <p:spPr bwMode="auto">
            <a:xfrm>
              <a:off x="8382000" y="3194050"/>
              <a:ext cx="668338" cy="1163638"/>
            </a:xfrm>
            <a:custGeom>
              <a:avLst/>
              <a:gdLst>
                <a:gd name="T0" fmla="*/ 75 w 175"/>
                <a:gd name="T1" fmla="*/ 0 h 305"/>
                <a:gd name="T2" fmla="*/ 119 w 175"/>
                <a:gd name="T3" fmla="*/ 41 h 305"/>
                <a:gd name="T4" fmla="*/ 175 w 175"/>
                <a:gd name="T5" fmla="*/ 278 h 305"/>
                <a:gd name="T6" fmla="*/ 108 w 175"/>
                <a:gd name="T7" fmla="*/ 293 h 305"/>
                <a:gd name="T8" fmla="*/ 0 w 175"/>
                <a:gd name="T9" fmla="*/ 282 h 305"/>
                <a:gd name="T10" fmla="*/ 26 w 175"/>
                <a:gd name="T11" fmla="*/ 77 h 305"/>
                <a:gd name="T12" fmla="*/ 41 w 175"/>
                <a:gd name="T13" fmla="*/ 18 h 305"/>
                <a:gd name="T14" fmla="*/ 75 w 175"/>
                <a:gd name="T15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5" h="305">
                  <a:moveTo>
                    <a:pt x="75" y="0"/>
                  </a:moveTo>
                  <a:cubicBezTo>
                    <a:pt x="75" y="0"/>
                    <a:pt x="106" y="10"/>
                    <a:pt x="119" y="41"/>
                  </a:cubicBezTo>
                  <a:cubicBezTo>
                    <a:pt x="131" y="72"/>
                    <a:pt x="175" y="278"/>
                    <a:pt x="175" y="278"/>
                  </a:cubicBezTo>
                  <a:cubicBezTo>
                    <a:pt x="175" y="278"/>
                    <a:pt x="153" y="305"/>
                    <a:pt x="108" y="293"/>
                  </a:cubicBezTo>
                  <a:cubicBezTo>
                    <a:pt x="63" y="282"/>
                    <a:pt x="30" y="273"/>
                    <a:pt x="0" y="282"/>
                  </a:cubicBezTo>
                  <a:cubicBezTo>
                    <a:pt x="0" y="282"/>
                    <a:pt x="23" y="99"/>
                    <a:pt x="26" y="77"/>
                  </a:cubicBezTo>
                  <a:cubicBezTo>
                    <a:pt x="28" y="55"/>
                    <a:pt x="41" y="18"/>
                    <a:pt x="41" y="18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iSľíḑe"/>
            <p:cNvSpPr/>
            <p:nvPr/>
          </p:nvSpPr>
          <p:spPr bwMode="auto">
            <a:xfrm>
              <a:off x="7651750" y="3324225"/>
              <a:ext cx="1069975" cy="396875"/>
            </a:xfrm>
            <a:custGeom>
              <a:avLst/>
              <a:gdLst>
                <a:gd name="T0" fmla="*/ 268 w 280"/>
                <a:gd name="T1" fmla="*/ 0 h 104"/>
                <a:gd name="T2" fmla="*/ 0 w 280"/>
                <a:gd name="T3" fmla="*/ 63 h 104"/>
                <a:gd name="T4" fmla="*/ 0 w 280"/>
                <a:gd name="T5" fmla="*/ 92 h 104"/>
                <a:gd name="T6" fmla="*/ 280 w 280"/>
                <a:gd name="T7" fmla="*/ 63 h 104"/>
                <a:gd name="T8" fmla="*/ 268 w 280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104">
                  <a:moveTo>
                    <a:pt x="268" y="0"/>
                  </a:moveTo>
                  <a:cubicBezTo>
                    <a:pt x="268" y="0"/>
                    <a:pt x="155" y="54"/>
                    <a:pt x="0" y="63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153" y="104"/>
                    <a:pt x="280" y="63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išļïḑê"/>
            <p:cNvSpPr/>
            <p:nvPr/>
          </p:nvSpPr>
          <p:spPr bwMode="auto">
            <a:xfrm>
              <a:off x="8453438" y="3563938"/>
              <a:ext cx="268288" cy="138113"/>
            </a:xfrm>
            <a:custGeom>
              <a:avLst/>
              <a:gdLst>
                <a:gd name="T0" fmla="*/ 0 w 70"/>
                <a:gd name="T1" fmla="*/ 36 h 36"/>
                <a:gd name="T2" fmla="*/ 70 w 70"/>
                <a:gd name="T3" fmla="*/ 0 h 36"/>
                <a:gd name="T4" fmla="*/ 2 w 70"/>
                <a:gd name="T5" fmla="*/ 17 h 36"/>
                <a:gd name="T6" fmla="*/ 0 w 70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36">
                  <a:moveTo>
                    <a:pt x="0" y="36"/>
                  </a:moveTo>
                  <a:cubicBezTo>
                    <a:pt x="12" y="32"/>
                    <a:pt x="41" y="22"/>
                    <a:pt x="70" y="0"/>
                  </a:cubicBezTo>
                  <a:cubicBezTo>
                    <a:pt x="70" y="0"/>
                    <a:pt x="42" y="9"/>
                    <a:pt x="2" y="17"/>
                  </a:cubicBezTo>
                  <a:cubicBezTo>
                    <a:pt x="1" y="23"/>
                    <a:pt x="1" y="29"/>
                    <a:pt x="0" y="36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íSľïḓé"/>
            <p:cNvSpPr/>
            <p:nvPr/>
          </p:nvSpPr>
          <p:spPr bwMode="auto">
            <a:xfrm>
              <a:off x="7431088" y="4667250"/>
              <a:ext cx="52388" cy="84138"/>
            </a:xfrm>
            <a:custGeom>
              <a:avLst/>
              <a:gdLst>
                <a:gd name="T0" fmla="*/ 5 w 14"/>
                <a:gd name="T1" fmla="*/ 22 h 22"/>
                <a:gd name="T2" fmla="*/ 4 w 14"/>
                <a:gd name="T3" fmla="*/ 22 h 22"/>
                <a:gd name="T4" fmla="*/ 0 w 14"/>
                <a:gd name="T5" fmla="*/ 15 h 22"/>
                <a:gd name="T6" fmla="*/ 3 w 14"/>
                <a:gd name="T7" fmla="*/ 5 h 22"/>
                <a:gd name="T8" fmla="*/ 9 w 14"/>
                <a:gd name="T9" fmla="*/ 1 h 22"/>
                <a:gd name="T10" fmla="*/ 13 w 14"/>
                <a:gd name="T11" fmla="*/ 7 h 22"/>
                <a:gd name="T12" fmla="*/ 11 w 14"/>
                <a:gd name="T13" fmla="*/ 18 h 22"/>
                <a:gd name="T14" fmla="*/ 5 w 1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2">
                  <a:moveTo>
                    <a:pt x="5" y="22"/>
                  </a:moveTo>
                  <a:cubicBezTo>
                    <a:pt x="5" y="22"/>
                    <a:pt x="5" y="22"/>
                    <a:pt x="4" y="22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1" y="12"/>
                    <a:pt x="2" y="8"/>
                    <a:pt x="3" y="5"/>
                  </a:cubicBezTo>
                  <a:cubicBezTo>
                    <a:pt x="3" y="2"/>
                    <a:pt x="6" y="0"/>
                    <a:pt x="9" y="1"/>
                  </a:cubicBezTo>
                  <a:cubicBezTo>
                    <a:pt x="12" y="1"/>
                    <a:pt x="14" y="4"/>
                    <a:pt x="13" y="7"/>
                  </a:cubicBezTo>
                  <a:cubicBezTo>
                    <a:pt x="12" y="11"/>
                    <a:pt x="12" y="14"/>
                    <a:pt x="11" y="18"/>
                  </a:cubicBezTo>
                  <a:cubicBezTo>
                    <a:pt x="10" y="20"/>
                    <a:pt x="8" y="22"/>
                    <a:pt x="5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îṥľïdé"/>
            <p:cNvSpPr/>
            <p:nvPr/>
          </p:nvSpPr>
          <p:spPr bwMode="auto">
            <a:xfrm>
              <a:off x="6999288" y="4781550"/>
              <a:ext cx="450850" cy="374650"/>
            </a:xfrm>
            <a:custGeom>
              <a:avLst/>
              <a:gdLst>
                <a:gd name="T0" fmla="*/ 6 w 118"/>
                <a:gd name="T1" fmla="*/ 98 h 98"/>
                <a:gd name="T2" fmla="*/ 0 w 118"/>
                <a:gd name="T3" fmla="*/ 94 h 98"/>
                <a:gd name="T4" fmla="*/ 5 w 118"/>
                <a:gd name="T5" fmla="*/ 87 h 98"/>
                <a:gd name="T6" fmla="*/ 23 w 118"/>
                <a:gd name="T7" fmla="*/ 82 h 98"/>
                <a:gd name="T8" fmla="*/ 30 w 118"/>
                <a:gd name="T9" fmla="*/ 85 h 98"/>
                <a:gd name="T10" fmla="*/ 27 w 118"/>
                <a:gd name="T11" fmla="*/ 92 h 98"/>
                <a:gd name="T12" fmla="*/ 7 w 118"/>
                <a:gd name="T13" fmla="*/ 98 h 98"/>
                <a:gd name="T14" fmla="*/ 6 w 118"/>
                <a:gd name="T15" fmla="*/ 98 h 98"/>
                <a:gd name="T16" fmla="*/ 44 w 118"/>
                <a:gd name="T17" fmla="*/ 84 h 98"/>
                <a:gd name="T18" fmla="*/ 39 w 118"/>
                <a:gd name="T19" fmla="*/ 81 h 98"/>
                <a:gd name="T20" fmla="*/ 41 w 118"/>
                <a:gd name="T21" fmla="*/ 74 h 98"/>
                <a:gd name="T22" fmla="*/ 58 w 118"/>
                <a:gd name="T23" fmla="*/ 64 h 98"/>
                <a:gd name="T24" fmla="*/ 66 w 118"/>
                <a:gd name="T25" fmla="*/ 65 h 98"/>
                <a:gd name="T26" fmla="*/ 64 w 118"/>
                <a:gd name="T27" fmla="*/ 73 h 98"/>
                <a:gd name="T28" fmla="*/ 46 w 118"/>
                <a:gd name="T29" fmla="*/ 84 h 98"/>
                <a:gd name="T30" fmla="*/ 44 w 118"/>
                <a:gd name="T31" fmla="*/ 84 h 98"/>
                <a:gd name="T32" fmla="*/ 77 w 118"/>
                <a:gd name="T33" fmla="*/ 61 h 98"/>
                <a:gd name="T34" fmla="*/ 73 w 118"/>
                <a:gd name="T35" fmla="*/ 59 h 98"/>
                <a:gd name="T36" fmla="*/ 73 w 118"/>
                <a:gd name="T37" fmla="*/ 52 h 98"/>
                <a:gd name="T38" fmla="*/ 87 w 118"/>
                <a:gd name="T39" fmla="*/ 37 h 98"/>
                <a:gd name="T40" fmla="*/ 94 w 118"/>
                <a:gd name="T41" fmla="*/ 36 h 98"/>
                <a:gd name="T42" fmla="*/ 95 w 118"/>
                <a:gd name="T43" fmla="*/ 44 h 98"/>
                <a:gd name="T44" fmla="*/ 81 w 118"/>
                <a:gd name="T45" fmla="*/ 59 h 98"/>
                <a:gd name="T46" fmla="*/ 77 w 118"/>
                <a:gd name="T47" fmla="*/ 61 h 98"/>
                <a:gd name="T48" fmla="*/ 102 w 118"/>
                <a:gd name="T49" fmla="*/ 29 h 98"/>
                <a:gd name="T50" fmla="*/ 100 w 118"/>
                <a:gd name="T51" fmla="*/ 28 h 98"/>
                <a:gd name="T52" fmla="*/ 98 w 118"/>
                <a:gd name="T53" fmla="*/ 21 h 98"/>
                <a:gd name="T54" fmla="*/ 107 w 118"/>
                <a:gd name="T55" fmla="*/ 4 h 98"/>
                <a:gd name="T56" fmla="*/ 114 w 118"/>
                <a:gd name="T57" fmla="*/ 1 h 98"/>
                <a:gd name="T58" fmla="*/ 117 w 118"/>
                <a:gd name="T59" fmla="*/ 8 h 98"/>
                <a:gd name="T60" fmla="*/ 107 w 118"/>
                <a:gd name="T61" fmla="*/ 27 h 98"/>
                <a:gd name="T62" fmla="*/ 102 w 118"/>
                <a:gd name="T63" fmla="*/ 2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8" h="98">
                  <a:moveTo>
                    <a:pt x="6" y="98"/>
                  </a:moveTo>
                  <a:cubicBezTo>
                    <a:pt x="3" y="98"/>
                    <a:pt x="1" y="96"/>
                    <a:pt x="0" y="94"/>
                  </a:cubicBezTo>
                  <a:cubicBezTo>
                    <a:pt x="0" y="91"/>
                    <a:pt x="2" y="88"/>
                    <a:pt x="5" y="87"/>
                  </a:cubicBezTo>
                  <a:cubicBezTo>
                    <a:pt x="11" y="86"/>
                    <a:pt x="17" y="84"/>
                    <a:pt x="23" y="82"/>
                  </a:cubicBezTo>
                  <a:cubicBezTo>
                    <a:pt x="26" y="81"/>
                    <a:pt x="29" y="83"/>
                    <a:pt x="30" y="85"/>
                  </a:cubicBezTo>
                  <a:cubicBezTo>
                    <a:pt x="31" y="88"/>
                    <a:pt x="30" y="91"/>
                    <a:pt x="27" y="92"/>
                  </a:cubicBezTo>
                  <a:cubicBezTo>
                    <a:pt x="20" y="95"/>
                    <a:pt x="14" y="96"/>
                    <a:pt x="7" y="98"/>
                  </a:cubicBezTo>
                  <a:cubicBezTo>
                    <a:pt x="6" y="98"/>
                    <a:pt x="6" y="98"/>
                    <a:pt x="6" y="98"/>
                  </a:cubicBezTo>
                  <a:close/>
                  <a:moveTo>
                    <a:pt x="44" y="84"/>
                  </a:moveTo>
                  <a:cubicBezTo>
                    <a:pt x="42" y="84"/>
                    <a:pt x="40" y="83"/>
                    <a:pt x="39" y="81"/>
                  </a:cubicBezTo>
                  <a:cubicBezTo>
                    <a:pt x="38" y="79"/>
                    <a:pt x="39" y="76"/>
                    <a:pt x="41" y="74"/>
                  </a:cubicBezTo>
                  <a:cubicBezTo>
                    <a:pt x="47" y="71"/>
                    <a:pt x="53" y="68"/>
                    <a:pt x="58" y="64"/>
                  </a:cubicBezTo>
                  <a:cubicBezTo>
                    <a:pt x="60" y="62"/>
                    <a:pt x="64" y="63"/>
                    <a:pt x="66" y="65"/>
                  </a:cubicBezTo>
                  <a:cubicBezTo>
                    <a:pt x="67" y="68"/>
                    <a:pt x="67" y="71"/>
                    <a:pt x="64" y="73"/>
                  </a:cubicBezTo>
                  <a:cubicBezTo>
                    <a:pt x="59" y="77"/>
                    <a:pt x="53" y="80"/>
                    <a:pt x="46" y="84"/>
                  </a:cubicBezTo>
                  <a:cubicBezTo>
                    <a:pt x="46" y="84"/>
                    <a:pt x="45" y="84"/>
                    <a:pt x="44" y="84"/>
                  </a:cubicBezTo>
                  <a:close/>
                  <a:moveTo>
                    <a:pt x="77" y="61"/>
                  </a:moveTo>
                  <a:cubicBezTo>
                    <a:pt x="75" y="61"/>
                    <a:pt x="74" y="60"/>
                    <a:pt x="73" y="59"/>
                  </a:cubicBezTo>
                  <a:cubicBezTo>
                    <a:pt x="71" y="57"/>
                    <a:pt x="71" y="54"/>
                    <a:pt x="73" y="52"/>
                  </a:cubicBezTo>
                  <a:cubicBezTo>
                    <a:pt x="78" y="47"/>
                    <a:pt x="82" y="42"/>
                    <a:pt x="87" y="37"/>
                  </a:cubicBezTo>
                  <a:cubicBezTo>
                    <a:pt x="88" y="35"/>
                    <a:pt x="92" y="34"/>
                    <a:pt x="94" y="36"/>
                  </a:cubicBezTo>
                  <a:cubicBezTo>
                    <a:pt x="96" y="38"/>
                    <a:pt x="97" y="42"/>
                    <a:pt x="95" y="44"/>
                  </a:cubicBezTo>
                  <a:cubicBezTo>
                    <a:pt x="90" y="49"/>
                    <a:pt x="86" y="54"/>
                    <a:pt x="81" y="59"/>
                  </a:cubicBezTo>
                  <a:cubicBezTo>
                    <a:pt x="80" y="60"/>
                    <a:pt x="78" y="61"/>
                    <a:pt x="77" y="61"/>
                  </a:cubicBezTo>
                  <a:close/>
                  <a:moveTo>
                    <a:pt x="102" y="29"/>
                  </a:moveTo>
                  <a:cubicBezTo>
                    <a:pt x="101" y="29"/>
                    <a:pt x="101" y="29"/>
                    <a:pt x="100" y="28"/>
                  </a:cubicBezTo>
                  <a:cubicBezTo>
                    <a:pt x="97" y="27"/>
                    <a:pt x="96" y="24"/>
                    <a:pt x="98" y="21"/>
                  </a:cubicBezTo>
                  <a:cubicBezTo>
                    <a:pt x="101" y="15"/>
                    <a:pt x="104" y="10"/>
                    <a:pt x="107" y="4"/>
                  </a:cubicBezTo>
                  <a:cubicBezTo>
                    <a:pt x="108" y="1"/>
                    <a:pt x="111" y="0"/>
                    <a:pt x="114" y="1"/>
                  </a:cubicBezTo>
                  <a:cubicBezTo>
                    <a:pt x="117" y="2"/>
                    <a:pt x="118" y="5"/>
                    <a:pt x="117" y="8"/>
                  </a:cubicBezTo>
                  <a:cubicBezTo>
                    <a:pt x="114" y="14"/>
                    <a:pt x="111" y="21"/>
                    <a:pt x="107" y="27"/>
                  </a:cubicBezTo>
                  <a:cubicBezTo>
                    <a:pt x="106" y="28"/>
                    <a:pt x="104" y="29"/>
                    <a:pt x="102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íšḻiďe"/>
            <p:cNvSpPr/>
            <p:nvPr/>
          </p:nvSpPr>
          <p:spPr bwMode="auto">
            <a:xfrm>
              <a:off x="6880225" y="5126038"/>
              <a:ext cx="84138" cy="41275"/>
            </a:xfrm>
            <a:custGeom>
              <a:avLst/>
              <a:gdLst>
                <a:gd name="T0" fmla="*/ 6 w 22"/>
                <a:gd name="T1" fmla="*/ 11 h 11"/>
                <a:gd name="T2" fmla="*/ 0 w 22"/>
                <a:gd name="T3" fmla="*/ 6 h 11"/>
                <a:gd name="T4" fmla="*/ 6 w 22"/>
                <a:gd name="T5" fmla="*/ 1 h 11"/>
                <a:gd name="T6" fmla="*/ 16 w 22"/>
                <a:gd name="T7" fmla="*/ 0 h 11"/>
                <a:gd name="T8" fmla="*/ 22 w 22"/>
                <a:gd name="T9" fmla="*/ 5 h 11"/>
                <a:gd name="T10" fmla="*/ 17 w 22"/>
                <a:gd name="T11" fmla="*/ 11 h 11"/>
                <a:gd name="T12" fmla="*/ 6 w 2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1">
                  <a:moveTo>
                    <a:pt x="6" y="11"/>
                  </a:move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1"/>
                    <a:pt x="6" y="1"/>
                  </a:cubicBezTo>
                  <a:cubicBezTo>
                    <a:pt x="9" y="1"/>
                    <a:pt x="13" y="0"/>
                    <a:pt x="16" y="0"/>
                  </a:cubicBezTo>
                  <a:cubicBezTo>
                    <a:pt x="19" y="0"/>
                    <a:pt x="22" y="2"/>
                    <a:pt x="22" y="5"/>
                  </a:cubicBezTo>
                  <a:cubicBezTo>
                    <a:pt x="22" y="8"/>
                    <a:pt x="20" y="11"/>
                    <a:pt x="17" y="11"/>
                  </a:cubicBezTo>
                  <a:cubicBezTo>
                    <a:pt x="13" y="11"/>
                    <a:pt x="9" y="11"/>
                    <a:pt x="6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íśḷîḓê"/>
            <p:cNvSpPr/>
            <p:nvPr/>
          </p:nvSpPr>
          <p:spPr bwMode="auto">
            <a:xfrm>
              <a:off x="7396163" y="4602163"/>
              <a:ext cx="122238" cy="114300"/>
            </a:xfrm>
            <a:custGeom>
              <a:avLst/>
              <a:gdLst>
                <a:gd name="T0" fmla="*/ 0 w 77"/>
                <a:gd name="T1" fmla="*/ 63 h 72"/>
                <a:gd name="T2" fmla="*/ 48 w 77"/>
                <a:gd name="T3" fmla="*/ 0 h 72"/>
                <a:gd name="T4" fmla="*/ 77 w 77"/>
                <a:gd name="T5" fmla="*/ 72 h 72"/>
                <a:gd name="T6" fmla="*/ 0 w 77"/>
                <a:gd name="T7" fmla="*/ 6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2">
                  <a:moveTo>
                    <a:pt x="0" y="63"/>
                  </a:moveTo>
                  <a:lnTo>
                    <a:pt x="48" y="0"/>
                  </a:lnTo>
                  <a:lnTo>
                    <a:pt x="77" y="72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îśḷiḓè"/>
            <p:cNvSpPr/>
            <p:nvPr/>
          </p:nvSpPr>
          <p:spPr bwMode="auto">
            <a:xfrm>
              <a:off x="7458075" y="2435225"/>
              <a:ext cx="79375" cy="41275"/>
            </a:xfrm>
            <a:custGeom>
              <a:avLst/>
              <a:gdLst>
                <a:gd name="T0" fmla="*/ 21 w 21"/>
                <a:gd name="T1" fmla="*/ 3 h 11"/>
                <a:gd name="T2" fmla="*/ 21 w 21"/>
                <a:gd name="T3" fmla="*/ 5 h 11"/>
                <a:gd name="T4" fmla="*/ 16 w 21"/>
                <a:gd name="T5" fmla="*/ 10 h 11"/>
                <a:gd name="T6" fmla="*/ 6 w 21"/>
                <a:gd name="T7" fmla="*/ 11 h 11"/>
                <a:gd name="T8" fmla="*/ 0 w 21"/>
                <a:gd name="T9" fmla="*/ 6 h 11"/>
                <a:gd name="T10" fmla="*/ 5 w 21"/>
                <a:gd name="T11" fmla="*/ 0 h 11"/>
                <a:gd name="T12" fmla="*/ 16 w 21"/>
                <a:gd name="T13" fmla="*/ 0 h 11"/>
                <a:gd name="T14" fmla="*/ 21 w 21"/>
                <a:gd name="T1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1">
                  <a:moveTo>
                    <a:pt x="21" y="3"/>
                  </a:moveTo>
                  <a:cubicBezTo>
                    <a:pt x="21" y="4"/>
                    <a:pt x="21" y="4"/>
                    <a:pt x="21" y="5"/>
                  </a:cubicBezTo>
                  <a:cubicBezTo>
                    <a:pt x="21" y="8"/>
                    <a:pt x="19" y="10"/>
                    <a:pt x="16" y="10"/>
                  </a:cubicBezTo>
                  <a:cubicBezTo>
                    <a:pt x="13" y="10"/>
                    <a:pt x="9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8" y="0"/>
                    <a:pt x="12" y="0"/>
                    <a:pt x="16" y="0"/>
                  </a:cubicBezTo>
                  <a:cubicBezTo>
                    <a:pt x="18" y="0"/>
                    <a:pt x="20" y="1"/>
                    <a:pt x="21" y="3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0" name="íśḻîďe"/>
            <p:cNvSpPr/>
            <p:nvPr/>
          </p:nvSpPr>
          <p:spPr bwMode="auto">
            <a:xfrm>
              <a:off x="7575550" y="2435225"/>
              <a:ext cx="481013" cy="331788"/>
            </a:xfrm>
            <a:custGeom>
              <a:avLst/>
              <a:gdLst>
                <a:gd name="T0" fmla="*/ 125 w 126"/>
                <a:gd name="T1" fmla="*/ 80 h 87"/>
                <a:gd name="T2" fmla="*/ 122 w 126"/>
                <a:gd name="T3" fmla="*/ 86 h 87"/>
                <a:gd name="T4" fmla="*/ 115 w 126"/>
                <a:gd name="T5" fmla="*/ 84 h 87"/>
                <a:gd name="T6" fmla="*/ 104 w 126"/>
                <a:gd name="T7" fmla="*/ 68 h 87"/>
                <a:gd name="T8" fmla="*/ 105 w 126"/>
                <a:gd name="T9" fmla="*/ 60 h 87"/>
                <a:gd name="T10" fmla="*/ 113 w 126"/>
                <a:gd name="T11" fmla="*/ 61 h 87"/>
                <a:gd name="T12" fmla="*/ 124 w 126"/>
                <a:gd name="T13" fmla="*/ 79 h 87"/>
                <a:gd name="T14" fmla="*/ 125 w 126"/>
                <a:gd name="T15" fmla="*/ 80 h 87"/>
                <a:gd name="T16" fmla="*/ 100 w 126"/>
                <a:gd name="T17" fmla="*/ 47 h 87"/>
                <a:gd name="T18" fmla="*/ 99 w 126"/>
                <a:gd name="T19" fmla="*/ 53 h 87"/>
                <a:gd name="T20" fmla="*/ 92 w 126"/>
                <a:gd name="T21" fmla="*/ 53 h 87"/>
                <a:gd name="T22" fmla="*/ 77 w 126"/>
                <a:gd name="T23" fmla="*/ 40 h 87"/>
                <a:gd name="T24" fmla="*/ 76 w 126"/>
                <a:gd name="T25" fmla="*/ 32 h 87"/>
                <a:gd name="T26" fmla="*/ 83 w 126"/>
                <a:gd name="T27" fmla="*/ 31 h 87"/>
                <a:gd name="T28" fmla="*/ 99 w 126"/>
                <a:gd name="T29" fmla="*/ 45 h 87"/>
                <a:gd name="T30" fmla="*/ 100 w 126"/>
                <a:gd name="T31" fmla="*/ 47 h 87"/>
                <a:gd name="T32" fmla="*/ 68 w 126"/>
                <a:gd name="T33" fmla="*/ 23 h 87"/>
                <a:gd name="T34" fmla="*/ 68 w 126"/>
                <a:gd name="T35" fmla="*/ 27 h 87"/>
                <a:gd name="T36" fmla="*/ 60 w 126"/>
                <a:gd name="T37" fmla="*/ 29 h 87"/>
                <a:gd name="T38" fmla="*/ 43 w 126"/>
                <a:gd name="T39" fmla="*/ 20 h 87"/>
                <a:gd name="T40" fmla="*/ 40 w 126"/>
                <a:gd name="T41" fmla="*/ 14 h 87"/>
                <a:gd name="T42" fmla="*/ 47 w 126"/>
                <a:gd name="T43" fmla="*/ 11 h 87"/>
                <a:gd name="T44" fmla="*/ 66 w 126"/>
                <a:gd name="T45" fmla="*/ 20 h 87"/>
                <a:gd name="T46" fmla="*/ 68 w 126"/>
                <a:gd name="T47" fmla="*/ 23 h 87"/>
                <a:gd name="T48" fmla="*/ 30 w 126"/>
                <a:gd name="T49" fmla="*/ 8 h 87"/>
                <a:gd name="T50" fmla="*/ 31 w 126"/>
                <a:gd name="T51" fmla="*/ 11 h 87"/>
                <a:gd name="T52" fmla="*/ 24 w 126"/>
                <a:gd name="T53" fmla="*/ 14 h 87"/>
                <a:gd name="T54" fmla="*/ 5 w 126"/>
                <a:gd name="T55" fmla="*/ 11 h 87"/>
                <a:gd name="T56" fmla="*/ 0 w 126"/>
                <a:gd name="T57" fmla="*/ 5 h 87"/>
                <a:gd name="T58" fmla="*/ 6 w 126"/>
                <a:gd name="T59" fmla="*/ 0 h 87"/>
                <a:gd name="T60" fmla="*/ 27 w 126"/>
                <a:gd name="T61" fmla="*/ 4 h 87"/>
                <a:gd name="T62" fmla="*/ 30 w 126"/>
                <a:gd name="T6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6" h="87">
                  <a:moveTo>
                    <a:pt x="125" y="80"/>
                  </a:moveTo>
                  <a:cubicBezTo>
                    <a:pt x="126" y="82"/>
                    <a:pt x="125" y="85"/>
                    <a:pt x="122" y="86"/>
                  </a:cubicBezTo>
                  <a:cubicBezTo>
                    <a:pt x="120" y="87"/>
                    <a:pt x="117" y="87"/>
                    <a:pt x="115" y="84"/>
                  </a:cubicBezTo>
                  <a:cubicBezTo>
                    <a:pt x="112" y="78"/>
                    <a:pt x="108" y="73"/>
                    <a:pt x="104" y="68"/>
                  </a:cubicBezTo>
                  <a:cubicBezTo>
                    <a:pt x="103" y="65"/>
                    <a:pt x="103" y="62"/>
                    <a:pt x="105" y="60"/>
                  </a:cubicBezTo>
                  <a:cubicBezTo>
                    <a:pt x="108" y="58"/>
                    <a:pt x="111" y="59"/>
                    <a:pt x="113" y="61"/>
                  </a:cubicBezTo>
                  <a:cubicBezTo>
                    <a:pt x="117" y="67"/>
                    <a:pt x="121" y="73"/>
                    <a:pt x="124" y="79"/>
                  </a:cubicBezTo>
                  <a:lnTo>
                    <a:pt x="125" y="80"/>
                  </a:lnTo>
                  <a:close/>
                  <a:moveTo>
                    <a:pt x="100" y="47"/>
                  </a:moveTo>
                  <a:cubicBezTo>
                    <a:pt x="101" y="49"/>
                    <a:pt x="101" y="51"/>
                    <a:pt x="99" y="53"/>
                  </a:cubicBezTo>
                  <a:cubicBezTo>
                    <a:pt x="97" y="55"/>
                    <a:pt x="94" y="55"/>
                    <a:pt x="92" y="53"/>
                  </a:cubicBezTo>
                  <a:cubicBezTo>
                    <a:pt x="87" y="48"/>
                    <a:pt x="82" y="44"/>
                    <a:pt x="77" y="40"/>
                  </a:cubicBezTo>
                  <a:cubicBezTo>
                    <a:pt x="74" y="38"/>
                    <a:pt x="74" y="35"/>
                    <a:pt x="76" y="32"/>
                  </a:cubicBezTo>
                  <a:cubicBezTo>
                    <a:pt x="78" y="30"/>
                    <a:pt x="81" y="29"/>
                    <a:pt x="83" y="31"/>
                  </a:cubicBezTo>
                  <a:cubicBezTo>
                    <a:pt x="89" y="36"/>
                    <a:pt x="94" y="40"/>
                    <a:pt x="99" y="45"/>
                  </a:cubicBezTo>
                  <a:cubicBezTo>
                    <a:pt x="100" y="46"/>
                    <a:pt x="100" y="47"/>
                    <a:pt x="100" y="47"/>
                  </a:cubicBezTo>
                  <a:close/>
                  <a:moveTo>
                    <a:pt x="68" y="23"/>
                  </a:moveTo>
                  <a:cubicBezTo>
                    <a:pt x="69" y="24"/>
                    <a:pt x="68" y="26"/>
                    <a:pt x="68" y="27"/>
                  </a:cubicBezTo>
                  <a:cubicBezTo>
                    <a:pt x="66" y="30"/>
                    <a:pt x="63" y="30"/>
                    <a:pt x="60" y="29"/>
                  </a:cubicBezTo>
                  <a:cubicBezTo>
                    <a:pt x="55" y="26"/>
                    <a:pt x="49" y="23"/>
                    <a:pt x="43" y="20"/>
                  </a:cubicBezTo>
                  <a:cubicBezTo>
                    <a:pt x="40" y="19"/>
                    <a:pt x="39" y="16"/>
                    <a:pt x="40" y="14"/>
                  </a:cubicBezTo>
                  <a:cubicBezTo>
                    <a:pt x="41" y="11"/>
                    <a:pt x="44" y="9"/>
                    <a:pt x="47" y="11"/>
                  </a:cubicBezTo>
                  <a:cubicBezTo>
                    <a:pt x="53" y="13"/>
                    <a:pt x="60" y="16"/>
                    <a:pt x="66" y="20"/>
                  </a:cubicBezTo>
                  <a:cubicBezTo>
                    <a:pt x="67" y="20"/>
                    <a:pt x="68" y="21"/>
                    <a:pt x="68" y="23"/>
                  </a:cubicBezTo>
                  <a:close/>
                  <a:moveTo>
                    <a:pt x="30" y="8"/>
                  </a:moveTo>
                  <a:cubicBezTo>
                    <a:pt x="31" y="9"/>
                    <a:pt x="31" y="10"/>
                    <a:pt x="31" y="11"/>
                  </a:cubicBezTo>
                  <a:cubicBezTo>
                    <a:pt x="30" y="13"/>
                    <a:pt x="27" y="15"/>
                    <a:pt x="24" y="14"/>
                  </a:cubicBezTo>
                  <a:cubicBezTo>
                    <a:pt x="18" y="13"/>
                    <a:pt x="11" y="12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1"/>
                    <a:pt x="20" y="2"/>
                    <a:pt x="27" y="4"/>
                  </a:cubicBezTo>
                  <a:cubicBezTo>
                    <a:pt x="29" y="5"/>
                    <a:pt x="30" y="6"/>
                    <a:pt x="30" y="8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1" name="iŝľîḓè"/>
            <p:cNvSpPr/>
            <p:nvPr/>
          </p:nvSpPr>
          <p:spPr bwMode="auto">
            <a:xfrm>
              <a:off x="8042275" y="2794000"/>
              <a:ext cx="60325" cy="84138"/>
            </a:xfrm>
            <a:custGeom>
              <a:avLst/>
              <a:gdLst>
                <a:gd name="T0" fmla="*/ 15 w 16"/>
                <a:gd name="T1" fmla="*/ 14 h 22"/>
                <a:gd name="T2" fmla="*/ 12 w 16"/>
                <a:gd name="T3" fmla="*/ 21 h 22"/>
                <a:gd name="T4" fmla="*/ 5 w 16"/>
                <a:gd name="T5" fmla="*/ 18 h 22"/>
                <a:gd name="T6" fmla="*/ 1 w 16"/>
                <a:gd name="T7" fmla="*/ 8 h 22"/>
                <a:gd name="T8" fmla="*/ 4 w 16"/>
                <a:gd name="T9" fmla="*/ 1 h 22"/>
                <a:gd name="T10" fmla="*/ 11 w 16"/>
                <a:gd name="T11" fmla="*/ 4 h 22"/>
                <a:gd name="T12" fmla="*/ 15 w 16"/>
                <a:gd name="T13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2">
                  <a:moveTo>
                    <a:pt x="15" y="14"/>
                  </a:moveTo>
                  <a:cubicBezTo>
                    <a:pt x="16" y="17"/>
                    <a:pt x="14" y="20"/>
                    <a:pt x="12" y="21"/>
                  </a:cubicBezTo>
                  <a:cubicBezTo>
                    <a:pt x="9" y="22"/>
                    <a:pt x="6" y="20"/>
                    <a:pt x="5" y="18"/>
                  </a:cubicBezTo>
                  <a:cubicBezTo>
                    <a:pt x="4" y="14"/>
                    <a:pt x="3" y="11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ubicBezTo>
                    <a:pt x="7" y="0"/>
                    <a:pt x="10" y="1"/>
                    <a:pt x="11" y="4"/>
                  </a:cubicBezTo>
                  <a:cubicBezTo>
                    <a:pt x="13" y="7"/>
                    <a:pt x="14" y="11"/>
                    <a:pt x="15" y="14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iśḻîdê"/>
            <p:cNvSpPr/>
            <p:nvPr/>
          </p:nvSpPr>
          <p:spPr bwMode="auto">
            <a:xfrm>
              <a:off x="7392988" y="2392363"/>
              <a:ext cx="114300" cy="122238"/>
            </a:xfrm>
            <a:custGeom>
              <a:avLst/>
              <a:gdLst>
                <a:gd name="T0" fmla="*/ 72 w 72"/>
                <a:gd name="T1" fmla="*/ 77 h 77"/>
                <a:gd name="T2" fmla="*/ 0 w 72"/>
                <a:gd name="T3" fmla="*/ 51 h 77"/>
                <a:gd name="T4" fmla="*/ 57 w 72"/>
                <a:gd name="T5" fmla="*/ 0 h 77"/>
                <a:gd name="T6" fmla="*/ 72 w 72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7">
                  <a:moveTo>
                    <a:pt x="72" y="77"/>
                  </a:moveTo>
                  <a:lnTo>
                    <a:pt x="0" y="51"/>
                  </a:lnTo>
                  <a:lnTo>
                    <a:pt x="57" y="0"/>
                  </a:lnTo>
                  <a:lnTo>
                    <a:pt x="72" y="77"/>
                  </a:ln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işḻíḑè"/>
            <p:cNvSpPr/>
            <p:nvPr/>
          </p:nvSpPr>
          <p:spPr bwMode="auto">
            <a:xfrm>
              <a:off x="5260975" y="4140200"/>
              <a:ext cx="84138" cy="46038"/>
            </a:xfrm>
            <a:custGeom>
              <a:avLst/>
              <a:gdLst>
                <a:gd name="T0" fmla="*/ 21 w 22"/>
                <a:gd name="T1" fmla="*/ 8 h 12"/>
                <a:gd name="T2" fmla="*/ 22 w 22"/>
                <a:gd name="T3" fmla="*/ 7 h 12"/>
                <a:gd name="T4" fmla="*/ 17 w 22"/>
                <a:gd name="T5" fmla="*/ 1 h 12"/>
                <a:gd name="T6" fmla="*/ 6 w 22"/>
                <a:gd name="T7" fmla="*/ 0 h 12"/>
                <a:gd name="T8" fmla="*/ 0 w 22"/>
                <a:gd name="T9" fmla="*/ 5 h 12"/>
                <a:gd name="T10" fmla="*/ 5 w 22"/>
                <a:gd name="T11" fmla="*/ 11 h 12"/>
                <a:gd name="T12" fmla="*/ 16 w 22"/>
                <a:gd name="T13" fmla="*/ 12 h 12"/>
                <a:gd name="T14" fmla="*/ 21 w 22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2">
                  <a:moveTo>
                    <a:pt x="21" y="8"/>
                  </a:moveTo>
                  <a:cubicBezTo>
                    <a:pt x="22" y="8"/>
                    <a:pt x="22" y="7"/>
                    <a:pt x="22" y="7"/>
                  </a:cubicBezTo>
                  <a:cubicBezTo>
                    <a:pt x="22" y="4"/>
                    <a:pt x="19" y="1"/>
                    <a:pt x="17" y="1"/>
                  </a:cubicBezTo>
                  <a:cubicBezTo>
                    <a:pt x="13" y="1"/>
                    <a:pt x="10" y="1"/>
                    <a:pt x="6" y="0"/>
                  </a:cubicBezTo>
                  <a:cubicBezTo>
                    <a:pt x="3" y="0"/>
                    <a:pt x="1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9" y="11"/>
                    <a:pt x="13" y="12"/>
                    <a:pt x="16" y="12"/>
                  </a:cubicBezTo>
                  <a:cubicBezTo>
                    <a:pt x="19" y="12"/>
                    <a:pt x="21" y="10"/>
                    <a:pt x="21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iṧlîḋè"/>
            <p:cNvSpPr/>
            <p:nvPr/>
          </p:nvSpPr>
          <p:spPr bwMode="auto">
            <a:xfrm>
              <a:off x="5380038" y="3851275"/>
              <a:ext cx="481013" cy="331788"/>
            </a:xfrm>
            <a:custGeom>
              <a:avLst/>
              <a:gdLst>
                <a:gd name="T0" fmla="*/ 125 w 126"/>
                <a:gd name="T1" fmla="*/ 9 h 87"/>
                <a:gd name="T2" fmla="*/ 113 w 126"/>
                <a:gd name="T3" fmla="*/ 26 h 87"/>
                <a:gd name="T4" fmla="*/ 106 w 126"/>
                <a:gd name="T5" fmla="*/ 27 h 87"/>
                <a:gd name="T6" fmla="*/ 105 w 126"/>
                <a:gd name="T7" fmla="*/ 20 h 87"/>
                <a:gd name="T8" fmla="*/ 115 w 126"/>
                <a:gd name="T9" fmla="*/ 3 h 87"/>
                <a:gd name="T10" fmla="*/ 123 w 126"/>
                <a:gd name="T11" fmla="*/ 1 h 87"/>
                <a:gd name="T12" fmla="*/ 125 w 126"/>
                <a:gd name="T13" fmla="*/ 7 h 87"/>
                <a:gd name="T14" fmla="*/ 125 w 126"/>
                <a:gd name="T15" fmla="*/ 9 h 87"/>
                <a:gd name="T16" fmla="*/ 99 w 126"/>
                <a:gd name="T17" fmla="*/ 42 h 87"/>
                <a:gd name="T18" fmla="*/ 84 w 126"/>
                <a:gd name="T19" fmla="*/ 56 h 87"/>
                <a:gd name="T20" fmla="*/ 76 w 126"/>
                <a:gd name="T21" fmla="*/ 55 h 87"/>
                <a:gd name="T22" fmla="*/ 77 w 126"/>
                <a:gd name="T23" fmla="*/ 48 h 87"/>
                <a:gd name="T24" fmla="*/ 92 w 126"/>
                <a:gd name="T25" fmla="*/ 35 h 87"/>
                <a:gd name="T26" fmla="*/ 99 w 126"/>
                <a:gd name="T27" fmla="*/ 35 h 87"/>
                <a:gd name="T28" fmla="*/ 101 w 126"/>
                <a:gd name="T29" fmla="*/ 40 h 87"/>
                <a:gd name="T30" fmla="*/ 99 w 126"/>
                <a:gd name="T31" fmla="*/ 42 h 87"/>
                <a:gd name="T32" fmla="*/ 66 w 126"/>
                <a:gd name="T33" fmla="*/ 68 h 87"/>
                <a:gd name="T34" fmla="*/ 47 w 126"/>
                <a:gd name="T35" fmla="*/ 77 h 87"/>
                <a:gd name="T36" fmla="*/ 40 w 126"/>
                <a:gd name="T37" fmla="*/ 74 h 87"/>
                <a:gd name="T38" fmla="*/ 43 w 126"/>
                <a:gd name="T39" fmla="*/ 67 h 87"/>
                <a:gd name="T40" fmla="*/ 61 w 126"/>
                <a:gd name="T41" fmla="*/ 58 h 87"/>
                <a:gd name="T42" fmla="*/ 68 w 126"/>
                <a:gd name="T43" fmla="*/ 60 h 87"/>
                <a:gd name="T44" fmla="*/ 69 w 126"/>
                <a:gd name="T45" fmla="*/ 65 h 87"/>
                <a:gd name="T46" fmla="*/ 66 w 126"/>
                <a:gd name="T47" fmla="*/ 68 h 87"/>
                <a:gd name="T48" fmla="*/ 27 w 126"/>
                <a:gd name="T49" fmla="*/ 83 h 87"/>
                <a:gd name="T50" fmla="*/ 6 w 126"/>
                <a:gd name="T51" fmla="*/ 87 h 87"/>
                <a:gd name="T52" fmla="*/ 0 w 126"/>
                <a:gd name="T53" fmla="*/ 82 h 87"/>
                <a:gd name="T54" fmla="*/ 5 w 126"/>
                <a:gd name="T55" fmla="*/ 76 h 87"/>
                <a:gd name="T56" fmla="*/ 24 w 126"/>
                <a:gd name="T57" fmla="*/ 73 h 87"/>
                <a:gd name="T58" fmla="*/ 31 w 126"/>
                <a:gd name="T59" fmla="*/ 77 h 87"/>
                <a:gd name="T60" fmla="*/ 31 w 126"/>
                <a:gd name="T61" fmla="*/ 80 h 87"/>
                <a:gd name="T62" fmla="*/ 27 w 126"/>
                <a:gd name="T63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6" h="87">
                  <a:moveTo>
                    <a:pt x="125" y="9"/>
                  </a:moveTo>
                  <a:cubicBezTo>
                    <a:pt x="121" y="15"/>
                    <a:pt x="117" y="21"/>
                    <a:pt x="113" y="26"/>
                  </a:cubicBezTo>
                  <a:cubicBezTo>
                    <a:pt x="112" y="29"/>
                    <a:pt x="108" y="29"/>
                    <a:pt x="106" y="27"/>
                  </a:cubicBezTo>
                  <a:cubicBezTo>
                    <a:pt x="103" y="25"/>
                    <a:pt x="103" y="22"/>
                    <a:pt x="105" y="20"/>
                  </a:cubicBezTo>
                  <a:cubicBezTo>
                    <a:pt x="109" y="15"/>
                    <a:pt x="112" y="9"/>
                    <a:pt x="115" y="3"/>
                  </a:cubicBezTo>
                  <a:cubicBezTo>
                    <a:pt x="117" y="1"/>
                    <a:pt x="120" y="0"/>
                    <a:pt x="123" y="1"/>
                  </a:cubicBezTo>
                  <a:cubicBezTo>
                    <a:pt x="125" y="3"/>
                    <a:pt x="126" y="5"/>
                    <a:pt x="125" y="7"/>
                  </a:cubicBezTo>
                  <a:lnTo>
                    <a:pt x="125" y="9"/>
                  </a:lnTo>
                  <a:close/>
                  <a:moveTo>
                    <a:pt x="99" y="42"/>
                  </a:moveTo>
                  <a:cubicBezTo>
                    <a:pt x="95" y="47"/>
                    <a:pt x="89" y="52"/>
                    <a:pt x="84" y="56"/>
                  </a:cubicBezTo>
                  <a:cubicBezTo>
                    <a:pt x="81" y="58"/>
                    <a:pt x="78" y="57"/>
                    <a:pt x="76" y="55"/>
                  </a:cubicBezTo>
                  <a:cubicBezTo>
                    <a:pt x="74" y="53"/>
                    <a:pt x="75" y="49"/>
                    <a:pt x="77" y="48"/>
                  </a:cubicBezTo>
                  <a:cubicBezTo>
                    <a:pt x="82" y="44"/>
                    <a:pt x="87" y="39"/>
                    <a:pt x="92" y="35"/>
                  </a:cubicBezTo>
                  <a:cubicBezTo>
                    <a:pt x="94" y="32"/>
                    <a:pt x="97" y="32"/>
                    <a:pt x="99" y="35"/>
                  </a:cubicBezTo>
                  <a:cubicBezTo>
                    <a:pt x="101" y="36"/>
                    <a:pt x="101" y="38"/>
                    <a:pt x="101" y="40"/>
                  </a:cubicBezTo>
                  <a:cubicBezTo>
                    <a:pt x="101" y="41"/>
                    <a:pt x="100" y="41"/>
                    <a:pt x="99" y="42"/>
                  </a:cubicBezTo>
                  <a:close/>
                  <a:moveTo>
                    <a:pt x="66" y="68"/>
                  </a:moveTo>
                  <a:cubicBezTo>
                    <a:pt x="60" y="71"/>
                    <a:pt x="54" y="74"/>
                    <a:pt x="47" y="77"/>
                  </a:cubicBezTo>
                  <a:cubicBezTo>
                    <a:pt x="44" y="78"/>
                    <a:pt x="41" y="77"/>
                    <a:pt x="40" y="74"/>
                  </a:cubicBezTo>
                  <a:cubicBezTo>
                    <a:pt x="39" y="71"/>
                    <a:pt x="40" y="68"/>
                    <a:pt x="43" y="67"/>
                  </a:cubicBezTo>
                  <a:cubicBezTo>
                    <a:pt x="49" y="64"/>
                    <a:pt x="55" y="62"/>
                    <a:pt x="61" y="58"/>
                  </a:cubicBezTo>
                  <a:cubicBezTo>
                    <a:pt x="63" y="57"/>
                    <a:pt x="67" y="58"/>
                    <a:pt x="68" y="60"/>
                  </a:cubicBezTo>
                  <a:cubicBezTo>
                    <a:pt x="69" y="62"/>
                    <a:pt x="69" y="63"/>
                    <a:pt x="69" y="65"/>
                  </a:cubicBezTo>
                  <a:cubicBezTo>
                    <a:pt x="68" y="66"/>
                    <a:pt x="67" y="67"/>
                    <a:pt x="66" y="68"/>
                  </a:cubicBezTo>
                  <a:close/>
                  <a:moveTo>
                    <a:pt x="27" y="83"/>
                  </a:moveTo>
                  <a:cubicBezTo>
                    <a:pt x="20" y="85"/>
                    <a:pt x="13" y="86"/>
                    <a:pt x="6" y="87"/>
                  </a:cubicBezTo>
                  <a:cubicBezTo>
                    <a:pt x="3" y="87"/>
                    <a:pt x="1" y="85"/>
                    <a:pt x="0" y="82"/>
                  </a:cubicBezTo>
                  <a:cubicBezTo>
                    <a:pt x="0" y="79"/>
                    <a:pt x="2" y="77"/>
                    <a:pt x="5" y="76"/>
                  </a:cubicBezTo>
                  <a:cubicBezTo>
                    <a:pt x="12" y="76"/>
                    <a:pt x="18" y="74"/>
                    <a:pt x="24" y="73"/>
                  </a:cubicBezTo>
                  <a:cubicBezTo>
                    <a:pt x="27" y="72"/>
                    <a:pt x="30" y="74"/>
                    <a:pt x="31" y="77"/>
                  </a:cubicBezTo>
                  <a:cubicBezTo>
                    <a:pt x="31" y="78"/>
                    <a:pt x="31" y="79"/>
                    <a:pt x="31" y="80"/>
                  </a:cubicBezTo>
                  <a:cubicBezTo>
                    <a:pt x="30" y="81"/>
                    <a:pt x="29" y="83"/>
                    <a:pt x="27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ṣḻiḑê"/>
            <p:cNvSpPr/>
            <p:nvPr/>
          </p:nvSpPr>
          <p:spPr bwMode="auto">
            <a:xfrm>
              <a:off x="5849938" y="3740150"/>
              <a:ext cx="57150" cy="87313"/>
            </a:xfrm>
            <a:custGeom>
              <a:avLst/>
              <a:gdLst>
                <a:gd name="T0" fmla="*/ 14 w 15"/>
                <a:gd name="T1" fmla="*/ 8 h 23"/>
                <a:gd name="T2" fmla="*/ 11 w 15"/>
                <a:gd name="T3" fmla="*/ 1 h 23"/>
                <a:gd name="T4" fmla="*/ 4 w 15"/>
                <a:gd name="T5" fmla="*/ 5 h 23"/>
                <a:gd name="T6" fmla="*/ 1 w 15"/>
                <a:gd name="T7" fmla="*/ 15 h 23"/>
                <a:gd name="T8" fmla="*/ 4 w 15"/>
                <a:gd name="T9" fmla="*/ 21 h 23"/>
                <a:gd name="T10" fmla="*/ 11 w 15"/>
                <a:gd name="T11" fmla="*/ 18 h 23"/>
                <a:gd name="T12" fmla="*/ 14 w 15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3">
                  <a:moveTo>
                    <a:pt x="14" y="8"/>
                  </a:moveTo>
                  <a:cubicBezTo>
                    <a:pt x="15" y="5"/>
                    <a:pt x="14" y="2"/>
                    <a:pt x="11" y="1"/>
                  </a:cubicBezTo>
                  <a:cubicBezTo>
                    <a:pt x="8" y="0"/>
                    <a:pt x="5" y="2"/>
                    <a:pt x="4" y="5"/>
                  </a:cubicBezTo>
                  <a:cubicBezTo>
                    <a:pt x="3" y="8"/>
                    <a:pt x="2" y="11"/>
                    <a:pt x="1" y="15"/>
                  </a:cubicBezTo>
                  <a:cubicBezTo>
                    <a:pt x="0" y="17"/>
                    <a:pt x="1" y="20"/>
                    <a:pt x="4" y="21"/>
                  </a:cubicBezTo>
                  <a:cubicBezTo>
                    <a:pt x="7" y="23"/>
                    <a:pt x="10" y="21"/>
                    <a:pt x="11" y="18"/>
                  </a:cubicBezTo>
                  <a:cubicBezTo>
                    <a:pt x="12" y="15"/>
                    <a:pt x="13" y="11"/>
                    <a:pt x="14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ïṥḻïďe"/>
            <p:cNvSpPr/>
            <p:nvPr/>
          </p:nvSpPr>
          <p:spPr bwMode="auto">
            <a:xfrm>
              <a:off x="5197475" y="4102100"/>
              <a:ext cx="114300" cy="122238"/>
            </a:xfrm>
            <a:custGeom>
              <a:avLst/>
              <a:gdLst>
                <a:gd name="T0" fmla="*/ 72 w 72"/>
                <a:gd name="T1" fmla="*/ 0 h 77"/>
                <a:gd name="T2" fmla="*/ 0 w 72"/>
                <a:gd name="T3" fmla="*/ 29 h 77"/>
                <a:gd name="T4" fmla="*/ 60 w 72"/>
                <a:gd name="T5" fmla="*/ 77 h 77"/>
                <a:gd name="T6" fmla="*/ 72 w 72"/>
                <a:gd name="T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7">
                  <a:moveTo>
                    <a:pt x="72" y="0"/>
                  </a:moveTo>
                  <a:lnTo>
                    <a:pt x="0" y="29"/>
                  </a:lnTo>
                  <a:lnTo>
                    <a:pt x="60" y="77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îṧļíḑè"/>
            <p:cNvSpPr/>
            <p:nvPr/>
          </p:nvSpPr>
          <p:spPr bwMode="auto">
            <a:xfrm>
              <a:off x="5418138" y="2438400"/>
              <a:ext cx="57150" cy="84138"/>
            </a:xfrm>
            <a:custGeom>
              <a:avLst/>
              <a:gdLst>
                <a:gd name="T0" fmla="*/ 9 w 15"/>
                <a:gd name="T1" fmla="*/ 0 h 22"/>
                <a:gd name="T2" fmla="*/ 10 w 15"/>
                <a:gd name="T3" fmla="*/ 0 h 22"/>
                <a:gd name="T4" fmla="*/ 14 w 15"/>
                <a:gd name="T5" fmla="*/ 7 h 22"/>
                <a:gd name="T6" fmla="*/ 11 w 15"/>
                <a:gd name="T7" fmla="*/ 17 h 22"/>
                <a:gd name="T8" fmla="*/ 5 w 15"/>
                <a:gd name="T9" fmla="*/ 21 h 22"/>
                <a:gd name="T10" fmla="*/ 1 w 15"/>
                <a:gd name="T11" fmla="*/ 14 h 22"/>
                <a:gd name="T12" fmla="*/ 4 w 15"/>
                <a:gd name="T13" fmla="*/ 4 h 22"/>
                <a:gd name="T14" fmla="*/ 9 w 15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2">
                  <a:moveTo>
                    <a:pt x="9" y="0"/>
                  </a:moveTo>
                  <a:cubicBezTo>
                    <a:pt x="9" y="0"/>
                    <a:pt x="10" y="0"/>
                    <a:pt x="10" y="0"/>
                  </a:cubicBezTo>
                  <a:cubicBezTo>
                    <a:pt x="13" y="1"/>
                    <a:pt x="15" y="4"/>
                    <a:pt x="14" y="7"/>
                  </a:cubicBezTo>
                  <a:cubicBezTo>
                    <a:pt x="13" y="10"/>
                    <a:pt x="12" y="14"/>
                    <a:pt x="11" y="17"/>
                  </a:cubicBezTo>
                  <a:cubicBezTo>
                    <a:pt x="10" y="20"/>
                    <a:pt x="7" y="22"/>
                    <a:pt x="5" y="21"/>
                  </a:cubicBezTo>
                  <a:cubicBezTo>
                    <a:pt x="2" y="20"/>
                    <a:pt x="0" y="17"/>
                    <a:pt x="1" y="14"/>
                  </a:cubicBezTo>
                  <a:cubicBezTo>
                    <a:pt x="1" y="11"/>
                    <a:pt x="2" y="7"/>
                    <a:pt x="4" y="4"/>
                  </a:cubicBezTo>
                  <a:cubicBezTo>
                    <a:pt x="4" y="1"/>
                    <a:pt x="6" y="0"/>
                    <a:pt x="9" y="0"/>
                  </a:cubicBez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ïšlïďê"/>
            <p:cNvSpPr/>
            <p:nvPr/>
          </p:nvSpPr>
          <p:spPr bwMode="auto">
            <a:xfrm>
              <a:off x="5456238" y="2049463"/>
              <a:ext cx="461963" cy="361950"/>
            </a:xfrm>
            <a:custGeom>
              <a:avLst/>
              <a:gdLst>
                <a:gd name="T0" fmla="*/ 116 w 121"/>
                <a:gd name="T1" fmla="*/ 0 h 95"/>
                <a:gd name="T2" fmla="*/ 121 w 121"/>
                <a:gd name="T3" fmla="*/ 5 h 95"/>
                <a:gd name="T4" fmla="*/ 116 w 121"/>
                <a:gd name="T5" fmla="*/ 11 h 95"/>
                <a:gd name="T6" fmla="*/ 97 w 121"/>
                <a:gd name="T7" fmla="*/ 15 h 95"/>
                <a:gd name="T8" fmla="*/ 90 w 121"/>
                <a:gd name="T9" fmla="*/ 12 h 95"/>
                <a:gd name="T10" fmla="*/ 94 w 121"/>
                <a:gd name="T11" fmla="*/ 5 h 95"/>
                <a:gd name="T12" fmla="*/ 114 w 121"/>
                <a:gd name="T13" fmla="*/ 0 h 95"/>
                <a:gd name="T14" fmla="*/ 116 w 121"/>
                <a:gd name="T15" fmla="*/ 0 h 95"/>
                <a:gd name="T16" fmla="*/ 77 w 121"/>
                <a:gd name="T17" fmla="*/ 12 h 95"/>
                <a:gd name="T18" fmla="*/ 82 w 121"/>
                <a:gd name="T19" fmla="*/ 15 h 95"/>
                <a:gd name="T20" fmla="*/ 79 w 121"/>
                <a:gd name="T21" fmla="*/ 23 h 95"/>
                <a:gd name="T22" fmla="*/ 62 w 121"/>
                <a:gd name="T23" fmla="*/ 32 h 95"/>
                <a:gd name="T24" fmla="*/ 54 w 121"/>
                <a:gd name="T25" fmla="*/ 31 h 95"/>
                <a:gd name="T26" fmla="*/ 56 w 121"/>
                <a:gd name="T27" fmla="*/ 23 h 95"/>
                <a:gd name="T28" fmla="*/ 74 w 121"/>
                <a:gd name="T29" fmla="*/ 13 h 95"/>
                <a:gd name="T30" fmla="*/ 77 w 121"/>
                <a:gd name="T31" fmla="*/ 12 h 95"/>
                <a:gd name="T32" fmla="*/ 43 w 121"/>
                <a:gd name="T33" fmla="*/ 35 h 95"/>
                <a:gd name="T34" fmla="*/ 47 w 121"/>
                <a:gd name="T35" fmla="*/ 37 h 95"/>
                <a:gd name="T36" fmla="*/ 46 w 121"/>
                <a:gd name="T37" fmla="*/ 44 h 95"/>
                <a:gd name="T38" fmla="*/ 32 w 121"/>
                <a:gd name="T39" fmla="*/ 58 h 95"/>
                <a:gd name="T40" fmla="*/ 25 w 121"/>
                <a:gd name="T41" fmla="*/ 59 h 95"/>
                <a:gd name="T42" fmla="*/ 24 w 121"/>
                <a:gd name="T43" fmla="*/ 51 h 95"/>
                <a:gd name="T44" fmla="*/ 39 w 121"/>
                <a:gd name="T45" fmla="*/ 36 h 95"/>
                <a:gd name="T46" fmla="*/ 43 w 121"/>
                <a:gd name="T47" fmla="*/ 35 h 95"/>
                <a:gd name="T48" fmla="*/ 16 w 121"/>
                <a:gd name="T49" fmla="*/ 65 h 95"/>
                <a:gd name="T50" fmla="*/ 19 w 121"/>
                <a:gd name="T51" fmla="*/ 66 h 95"/>
                <a:gd name="T52" fmla="*/ 21 w 121"/>
                <a:gd name="T53" fmla="*/ 74 h 95"/>
                <a:gd name="T54" fmla="*/ 11 w 121"/>
                <a:gd name="T55" fmla="*/ 91 h 95"/>
                <a:gd name="T56" fmla="*/ 4 w 121"/>
                <a:gd name="T57" fmla="*/ 93 h 95"/>
                <a:gd name="T58" fmla="*/ 1 w 121"/>
                <a:gd name="T59" fmla="*/ 86 h 95"/>
                <a:gd name="T60" fmla="*/ 12 w 121"/>
                <a:gd name="T61" fmla="*/ 68 h 95"/>
                <a:gd name="T62" fmla="*/ 16 w 121"/>
                <a:gd name="T63" fmla="*/ 6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1" h="95">
                  <a:moveTo>
                    <a:pt x="116" y="0"/>
                  </a:moveTo>
                  <a:cubicBezTo>
                    <a:pt x="118" y="0"/>
                    <a:pt x="120" y="2"/>
                    <a:pt x="121" y="5"/>
                  </a:cubicBezTo>
                  <a:cubicBezTo>
                    <a:pt x="121" y="7"/>
                    <a:pt x="119" y="10"/>
                    <a:pt x="116" y="11"/>
                  </a:cubicBezTo>
                  <a:cubicBezTo>
                    <a:pt x="110" y="12"/>
                    <a:pt x="103" y="13"/>
                    <a:pt x="97" y="15"/>
                  </a:cubicBezTo>
                  <a:cubicBezTo>
                    <a:pt x="94" y="16"/>
                    <a:pt x="91" y="15"/>
                    <a:pt x="90" y="12"/>
                  </a:cubicBezTo>
                  <a:cubicBezTo>
                    <a:pt x="90" y="9"/>
                    <a:pt x="91" y="6"/>
                    <a:pt x="94" y="5"/>
                  </a:cubicBezTo>
                  <a:cubicBezTo>
                    <a:pt x="101" y="3"/>
                    <a:pt x="108" y="1"/>
                    <a:pt x="114" y="0"/>
                  </a:cubicBezTo>
                  <a:cubicBezTo>
                    <a:pt x="115" y="0"/>
                    <a:pt x="115" y="0"/>
                    <a:pt x="116" y="0"/>
                  </a:cubicBezTo>
                  <a:close/>
                  <a:moveTo>
                    <a:pt x="77" y="12"/>
                  </a:moveTo>
                  <a:cubicBezTo>
                    <a:pt x="79" y="13"/>
                    <a:pt x="81" y="14"/>
                    <a:pt x="82" y="15"/>
                  </a:cubicBezTo>
                  <a:cubicBezTo>
                    <a:pt x="83" y="18"/>
                    <a:pt x="82" y="21"/>
                    <a:pt x="79" y="23"/>
                  </a:cubicBezTo>
                  <a:cubicBezTo>
                    <a:pt x="73" y="25"/>
                    <a:pt x="67" y="29"/>
                    <a:pt x="62" y="32"/>
                  </a:cubicBezTo>
                  <a:cubicBezTo>
                    <a:pt x="59" y="34"/>
                    <a:pt x="56" y="33"/>
                    <a:pt x="54" y="31"/>
                  </a:cubicBezTo>
                  <a:cubicBezTo>
                    <a:pt x="53" y="28"/>
                    <a:pt x="54" y="25"/>
                    <a:pt x="56" y="23"/>
                  </a:cubicBezTo>
                  <a:cubicBezTo>
                    <a:pt x="62" y="19"/>
                    <a:pt x="68" y="16"/>
                    <a:pt x="74" y="13"/>
                  </a:cubicBezTo>
                  <a:cubicBezTo>
                    <a:pt x="75" y="13"/>
                    <a:pt x="76" y="12"/>
                    <a:pt x="77" y="12"/>
                  </a:cubicBezTo>
                  <a:close/>
                  <a:moveTo>
                    <a:pt x="43" y="35"/>
                  </a:moveTo>
                  <a:cubicBezTo>
                    <a:pt x="44" y="35"/>
                    <a:pt x="46" y="35"/>
                    <a:pt x="47" y="37"/>
                  </a:cubicBezTo>
                  <a:cubicBezTo>
                    <a:pt x="49" y="39"/>
                    <a:pt x="49" y="42"/>
                    <a:pt x="46" y="44"/>
                  </a:cubicBezTo>
                  <a:cubicBezTo>
                    <a:pt x="41" y="48"/>
                    <a:pt x="37" y="53"/>
                    <a:pt x="32" y="58"/>
                  </a:cubicBezTo>
                  <a:cubicBezTo>
                    <a:pt x="30" y="60"/>
                    <a:pt x="27" y="60"/>
                    <a:pt x="25" y="59"/>
                  </a:cubicBezTo>
                  <a:cubicBezTo>
                    <a:pt x="23" y="57"/>
                    <a:pt x="22" y="53"/>
                    <a:pt x="24" y="51"/>
                  </a:cubicBezTo>
                  <a:cubicBezTo>
                    <a:pt x="29" y="46"/>
                    <a:pt x="34" y="41"/>
                    <a:pt x="39" y="36"/>
                  </a:cubicBezTo>
                  <a:cubicBezTo>
                    <a:pt x="40" y="35"/>
                    <a:pt x="42" y="35"/>
                    <a:pt x="43" y="35"/>
                  </a:cubicBezTo>
                  <a:close/>
                  <a:moveTo>
                    <a:pt x="16" y="65"/>
                  </a:moveTo>
                  <a:cubicBezTo>
                    <a:pt x="17" y="65"/>
                    <a:pt x="18" y="66"/>
                    <a:pt x="19" y="66"/>
                  </a:cubicBezTo>
                  <a:cubicBezTo>
                    <a:pt x="21" y="68"/>
                    <a:pt x="22" y="71"/>
                    <a:pt x="21" y="74"/>
                  </a:cubicBezTo>
                  <a:cubicBezTo>
                    <a:pt x="17" y="79"/>
                    <a:pt x="14" y="85"/>
                    <a:pt x="11" y="91"/>
                  </a:cubicBezTo>
                  <a:cubicBezTo>
                    <a:pt x="10" y="93"/>
                    <a:pt x="6" y="95"/>
                    <a:pt x="4" y="93"/>
                  </a:cubicBezTo>
                  <a:cubicBezTo>
                    <a:pt x="1" y="92"/>
                    <a:pt x="0" y="89"/>
                    <a:pt x="1" y="86"/>
                  </a:cubicBezTo>
                  <a:cubicBezTo>
                    <a:pt x="4" y="80"/>
                    <a:pt x="8" y="74"/>
                    <a:pt x="12" y="68"/>
                  </a:cubicBezTo>
                  <a:cubicBezTo>
                    <a:pt x="13" y="66"/>
                    <a:pt x="14" y="65"/>
                    <a:pt x="16" y="65"/>
                  </a:cubicBez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íSḷîḍe"/>
            <p:cNvSpPr/>
            <p:nvPr/>
          </p:nvSpPr>
          <p:spPr bwMode="auto">
            <a:xfrm>
              <a:off x="5953125" y="2041525"/>
              <a:ext cx="84138" cy="42863"/>
            </a:xfrm>
            <a:custGeom>
              <a:avLst/>
              <a:gdLst>
                <a:gd name="T0" fmla="*/ 17 w 22"/>
                <a:gd name="T1" fmla="*/ 0 h 11"/>
                <a:gd name="T2" fmla="*/ 22 w 22"/>
                <a:gd name="T3" fmla="*/ 6 h 11"/>
                <a:gd name="T4" fmla="*/ 16 w 22"/>
                <a:gd name="T5" fmla="*/ 11 h 11"/>
                <a:gd name="T6" fmla="*/ 6 w 22"/>
                <a:gd name="T7" fmla="*/ 11 h 11"/>
                <a:gd name="T8" fmla="*/ 0 w 22"/>
                <a:gd name="T9" fmla="*/ 6 h 11"/>
                <a:gd name="T10" fmla="*/ 5 w 22"/>
                <a:gd name="T11" fmla="*/ 0 h 11"/>
                <a:gd name="T12" fmla="*/ 17 w 22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1">
                  <a:moveTo>
                    <a:pt x="17" y="0"/>
                  </a:moveTo>
                  <a:cubicBezTo>
                    <a:pt x="20" y="0"/>
                    <a:pt x="22" y="3"/>
                    <a:pt x="22" y="6"/>
                  </a:cubicBezTo>
                  <a:cubicBezTo>
                    <a:pt x="22" y="9"/>
                    <a:pt x="19" y="11"/>
                    <a:pt x="16" y="11"/>
                  </a:cubicBezTo>
                  <a:cubicBezTo>
                    <a:pt x="13" y="11"/>
                    <a:pt x="9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9" y="0"/>
                    <a:pt x="13" y="0"/>
                    <a:pt x="17" y="0"/>
                  </a:cubicBez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ïṩľiḑe"/>
            <p:cNvSpPr/>
            <p:nvPr/>
          </p:nvSpPr>
          <p:spPr bwMode="auto">
            <a:xfrm>
              <a:off x="5383213" y="2468563"/>
              <a:ext cx="122238" cy="114300"/>
            </a:xfrm>
            <a:custGeom>
              <a:avLst/>
              <a:gdLst>
                <a:gd name="T0" fmla="*/ 77 w 77"/>
                <a:gd name="T1" fmla="*/ 15 h 72"/>
                <a:gd name="T2" fmla="*/ 27 w 77"/>
                <a:gd name="T3" fmla="*/ 72 h 72"/>
                <a:gd name="T4" fmla="*/ 0 w 77"/>
                <a:gd name="T5" fmla="*/ 0 h 72"/>
                <a:gd name="T6" fmla="*/ 77 w 77"/>
                <a:gd name="T7" fmla="*/ 1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2">
                  <a:moveTo>
                    <a:pt x="77" y="15"/>
                  </a:moveTo>
                  <a:lnTo>
                    <a:pt x="27" y="72"/>
                  </a:lnTo>
                  <a:lnTo>
                    <a:pt x="0" y="0"/>
                  </a:lnTo>
                  <a:lnTo>
                    <a:pt x="77" y="15"/>
                  </a:lnTo>
                  <a:close/>
                </a:path>
              </a:pathLst>
            </a:custGeom>
            <a:solidFill>
              <a:srgbClr val="011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îSḷiďè"/>
            <p:cNvSpPr/>
            <p:nvPr/>
          </p:nvSpPr>
          <p:spPr bwMode="auto">
            <a:xfrm>
              <a:off x="6773863" y="1438275"/>
              <a:ext cx="725488" cy="793750"/>
            </a:xfrm>
            <a:custGeom>
              <a:avLst/>
              <a:gdLst>
                <a:gd name="T0" fmla="*/ 95 w 190"/>
                <a:gd name="T1" fmla="*/ 0 h 208"/>
                <a:gd name="T2" fmla="*/ 0 w 190"/>
                <a:gd name="T3" fmla="*/ 76 h 208"/>
                <a:gd name="T4" fmla="*/ 57 w 190"/>
                <a:gd name="T5" fmla="*/ 208 h 208"/>
                <a:gd name="T6" fmla="*/ 95 w 190"/>
                <a:gd name="T7" fmla="*/ 208 h 208"/>
                <a:gd name="T8" fmla="*/ 132 w 190"/>
                <a:gd name="T9" fmla="*/ 208 h 208"/>
                <a:gd name="T10" fmla="*/ 190 w 190"/>
                <a:gd name="T11" fmla="*/ 76 h 208"/>
                <a:gd name="T12" fmla="*/ 95 w 190"/>
                <a:gd name="T1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208">
                  <a:moveTo>
                    <a:pt x="95" y="0"/>
                  </a:moveTo>
                  <a:cubicBezTo>
                    <a:pt x="95" y="0"/>
                    <a:pt x="0" y="0"/>
                    <a:pt x="0" y="76"/>
                  </a:cubicBezTo>
                  <a:cubicBezTo>
                    <a:pt x="0" y="151"/>
                    <a:pt x="57" y="130"/>
                    <a:pt x="57" y="208"/>
                  </a:cubicBezTo>
                  <a:cubicBezTo>
                    <a:pt x="95" y="208"/>
                    <a:pt x="95" y="208"/>
                    <a:pt x="95" y="208"/>
                  </a:cubicBezTo>
                  <a:cubicBezTo>
                    <a:pt x="132" y="208"/>
                    <a:pt x="132" y="208"/>
                    <a:pt x="132" y="208"/>
                  </a:cubicBezTo>
                  <a:cubicBezTo>
                    <a:pt x="132" y="130"/>
                    <a:pt x="190" y="151"/>
                    <a:pt x="190" y="76"/>
                  </a:cubicBezTo>
                  <a:cubicBezTo>
                    <a:pt x="190" y="0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ïṩ1ïḑê"/>
            <p:cNvSpPr/>
            <p:nvPr/>
          </p:nvSpPr>
          <p:spPr bwMode="auto">
            <a:xfrm>
              <a:off x="6961188" y="1785938"/>
              <a:ext cx="350838" cy="465138"/>
            </a:xfrm>
            <a:custGeom>
              <a:avLst/>
              <a:gdLst>
                <a:gd name="T0" fmla="*/ 64 w 92"/>
                <a:gd name="T1" fmla="*/ 122 h 122"/>
                <a:gd name="T2" fmla="*/ 56 w 92"/>
                <a:gd name="T3" fmla="*/ 122 h 122"/>
                <a:gd name="T4" fmla="*/ 56 w 92"/>
                <a:gd name="T5" fmla="*/ 52 h 122"/>
                <a:gd name="T6" fmla="*/ 36 w 92"/>
                <a:gd name="T7" fmla="*/ 52 h 122"/>
                <a:gd name="T8" fmla="*/ 36 w 92"/>
                <a:gd name="T9" fmla="*/ 122 h 122"/>
                <a:gd name="T10" fmla="*/ 27 w 92"/>
                <a:gd name="T11" fmla="*/ 122 h 122"/>
                <a:gd name="T12" fmla="*/ 27 w 92"/>
                <a:gd name="T13" fmla="*/ 52 h 122"/>
                <a:gd name="T14" fmla="*/ 19 w 92"/>
                <a:gd name="T15" fmla="*/ 52 h 122"/>
                <a:gd name="T16" fmla="*/ 0 w 92"/>
                <a:gd name="T17" fmla="*/ 17 h 122"/>
                <a:gd name="T18" fmla="*/ 2 w 92"/>
                <a:gd name="T19" fmla="*/ 6 h 122"/>
                <a:gd name="T20" fmla="*/ 12 w 92"/>
                <a:gd name="T21" fmla="*/ 0 h 122"/>
                <a:gd name="T22" fmla="*/ 36 w 92"/>
                <a:gd name="T23" fmla="*/ 44 h 122"/>
                <a:gd name="T24" fmla="*/ 56 w 92"/>
                <a:gd name="T25" fmla="*/ 44 h 122"/>
                <a:gd name="T26" fmla="*/ 79 w 92"/>
                <a:gd name="T27" fmla="*/ 0 h 122"/>
                <a:gd name="T28" fmla="*/ 92 w 92"/>
                <a:gd name="T29" fmla="*/ 17 h 122"/>
                <a:gd name="T30" fmla="*/ 87 w 92"/>
                <a:gd name="T31" fmla="*/ 39 h 122"/>
                <a:gd name="T32" fmla="*/ 72 w 92"/>
                <a:gd name="T33" fmla="*/ 52 h 122"/>
                <a:gd name="T34" fmla="*/ 64 w 92"/>
                <a:gd name="T35" fmla="*/ 52 h 122"/>
                <a:gd name="T36" fmla="*/ 64 w 92"/>
                <a:gd name="T37" fmla="*/ 122 h 122"/>
                <a:gd name="T38" fmla="*/ 64 w 92"/>
                <a:gd name="T39" fmla="*/ 44 h 122"/>
                <a:gd name="T40" fmla="*/ 72 w 92"/>
                <a:gd name="T41" fmla="*/ 44 h 122"/>
                <a:gd name="T42" fmla="*/ 83 w 92"/>
                <a:gd name="T43" fmla="*/ 17 h 122"/>
                <a:gd name="T44" fmla="*/ 79 w 92"/>
                <a:gd name="T45" fmla="*/ 9 h 122"/>
                <a:gd name="T46" fmla="*/ 64 w 92"/>
                <a:gd name="T47" fmla="*/ 44 h 122"/>
                <a:gd name="T48" fmla="*/ 12 w 92"/>
                <a:gd name="T49" fmla="*/ 9 h 122"/>
                <a:gd name="T50" fmla="*/ 9 w 92"/>
                <a:gd name="T51" fmla="*/ 10 h 122"/>
                <a:gd name="T52" fmla="*/ 8 w 92"/>
                <a:gd name="T53" fmla="*/ 17 h 122"/>
                <a:gd name="T54" fmla="*/ 19 w 92"/>
                <a:gd name="T55" fmla="*/ 44 h 122"/>
                <a:gd name="T56" fmla="*/ 27 w 92"/>
                <a:gd name="T57" fmla="*/ 44 h 122"/>
                <a:gd name="T58" fmla="*/ 12 w 92"/>
                <a:gd name="T59" fmla="*/ 9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22">
                  <a:moveTo>
                    <a:pt x="64" y="122"/>
                  </a:moveTo>
                  <a:cubicBezTo>
                    <a:pt x="56" y="122"/>
                    <a:pt x="56" y="122"/>
                    <a:pt x="56" y="12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8" y="52"/>
                    <a:pt x="0" y="31"/>
                    <a:pt x="0" y="17"/>
                  </a:cubicBezTo>
                  <a:cubicBezTo>
                    <a:pt x="0" y="12"/>
                    <a:pt x="1" y="9"/>
                    <a:pt x="2" y="6"/>
                  </a:cubicBezTo>
                  <a:cubicBezTo>
                    <a:pt x="4" y="2"/>
                    <a:pt x="8" y="0"/>
                    <a:pt x="12" y="0"/>
                  </a:cubicBezTo>
                  <a:cubicBezTo>
                    <a:pt x="33" y="0"/>
                    <a:pt x="35" y="20"/>
                    <a:pt x="3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20"/>
                    <a:pt x="59" y="0"/>
                    <a:pt x="79" y="0"/>
                  </a:cubicBezTo>
                  <a:cubicBezTo>
                    <a:pt x="82" y="0"/>
                    <a:pt x="92" y="1"/>
                    <a:pt x="92" y="17"/>
                  </a:cubicBezTo>
                  <a:cubicBezTo>
                    <a:pt x="92" y="24"/>
                    <a:pt x="90" y="32"/>
                    <a:pt x="87" y="39"/>
                  </a:cubicBezTo>
                  <a:cubicBezTo>
                    <a:pt x="83" y="48"/>
                    <a:pt x="77" y="52"/>
                    <a:pt x="72" y="52"/>
                  </a:cubicBezTo>
                  <a:cubicBezTo>
                    <a:pt x="64" y="52"/>
                    <a:pt x="64" y="52"/>
                    <a:pt x="64" y="52"/>
                  </a:cubicBezTo>
                  <a:lnTo>
                    <a:pt x="64" y="122"/>
                  </a:lnTo>
                  <a:close/>
                  <a:moveTo>
                    <a:pt x="64" y="44"/>
                  </a:moveTo>
                  <a:cubicBezTo>
                    <a:pt x="72" y="44"/>
                    <a:pt x="72" y="44"/>
                    <a:pt x="72" y="44"/>
                  </a:cubicBezTo>
                  <a:cubicBezTo>
                    <a:pt x="76" y="44"/>
                    <a:pt x="83" y="30"/>
                    <a:pt x="83" y="17"/>
                  </a:cubicBezTo>
                  <a:cubicBezTo>
                    <a:pt x="83" y="13"/>
                    <a:pt x="83" y="9"/>
                    <a:pt x="79" y="9"/>
                  </a:cubicBezTo>
                  <a:cubicBezTo>
                    <a:pt x="68" y="9"/>
                    <a:pt x="65" y="17"/>
                    <a:pt x="64" y="44"/>
                  </a:cubicBezTo>
                  <a:close/>
                  <a:moveTo>
                    <a:pt x="12" y="9"/>
                  </a:moveTo>
                  <a:cubicBezTo>
                    <a:pt x="11" y="9"/>
                    <a:pt x="10" y="9"/>
                    <a:pt x="9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0"/>
                    <a:pt x="16" y="44"/>
                    <a:pt x="19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17"/>
                    <a:pt x="23" y="9"/>
                    <a:pt x="12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ïş1ïḓè"/>
            <p:cNvSpPr/>
            <p:nvPr/>
          </p:nvSpPr>
          <p:spPr bwMode="auto">
            <a:xfrm>
              <a:off x="6950075" y="2232025"/>
              <a:ext cx="373063" cy="160338"/>
            </a:xfrm>
            <a:custGeom>
              <a:avLst/>
              <a:gdLst>
                <a:gd name="T0" fmla="*/ 85 w 98"/>
                <a:gd name="T1" fmla="*/ 42 h 42"/>
                <a:gd name="T2" fmla="*/ 12 w 98"/>
                <a:gd name="T3" fmla="*/ 42 h 42"/>
                <a:gd name="T4" fmla="*/ 0 w 98"/>
                <a:gd name="T5" fmla="*/ 30 h 42"/>
                <a:gd name="T6" fmla="*/ 0 w 98"/>
                <a:gd name="T7" fmla="*/ 13 h 42"/>
                <a:gd name="T8" fmla="*/ 12 w 98"/>
                <a:gd name="T9" fmla="*/ 0 h 42"/>
                <a:gd name="T10" fmla="*/ 85 w 98"/>
                <a:gd name="T11" fmla="*/ 0 h 42"/>
                <a:gd name="T12" fmla="*/ 98 w 98"/>
                <a:gd name="T13" fmla="*/ 13 h 42"/>
                <a:gd name="T14" fmla="*/ 98 w 98"/>
                <a:gd name="T15" fmla="*/ 30 h 42"/>
                <a:gd name="T16" fmla="*/ 85 w 98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42">
                  <a:moveTo>
                    <a:pt x="85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5" y="42"/>
                    <a:pt x="0" y="37"/>
                    <a:pt x="0" y="3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2" y="0"/>
                    <a:pt x="98" y="6"/>
                    <a:pt x="98" y="13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7"/>
                    <a:pt x="92" y="42"/>
                    <a:pt x="85" y="42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işḷiḓé"/>
            <p:cNvSpPr/>
            <p:nvPr/>
          </p:nvSpPr>
          <p:spPr bwMode="auto">
            <a:xfrm>
              <a:off x="3195638" y="3033713"/>
              <a:ext cx="649288" cy="682625"/>
            </a:xfrm>
            <a:custGeom>
              <a:avLst/>
              <a:gdLst>
                <a:gd name="T0" fmla="*/ 67 w 170"/>
                <a:gd name="T1" fmla="*/ 22 h 179"/>
                <a:gd name="T2" fmla="*/ 17 w 170"/>
                <a:gd name="T3" fmla="*/ 98 h 179"/>
                <a:gd name="T4" fmla="*/ 89 w 170"/>
                <a:gd name="T5" fmla="*/ 179 h 179"/>
                <a:gd name="T6" fmla="*/ 116 w 170"/>
                <a:gd name="T7" fmla="*/ 170 h 179"/>
                <a:gd name="T8" fmla="*/ 143 w 170"/>
                <a:gd name="T9" fmla="*/ 161 h 179"/>
                <a:gd name="T10" fmla="*/ 152 w 170"/>
                <a:gd name="T11" fmla="*/ 54 h 179"/>
                <a:gd name="T12" fmla="*/ 67 w 170"/>
                <a:gd name="T13" fmla="*/ 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79">
                  <a:moveTo>
                    <a:pt x="67" y="22"/>
                  </a:moveTo>
                  <a:cubicBezTo>
                    <a:pt x="67" y="22"/>
                    <a:pt x="0" y="45"/>
                    <a:pt x="17" y="98"/>
                  </a:cubicBezTo>
                  <a:cubicBezTo>
                    <a:pt x="35" y="152"/>
                    <a:pt x="71" y="124"/>
                    <a:pt x="89" y="179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24" y="106"/>
                    <a:pt x="170" y="107"/>
                    <a:pt x="152" y="54"/>
                  </a:cubicBezTo>
                  <a:cubicBezTo>
                    <a:pt x="134" y="0"/>
                    <a:pt x="67" y="22"/>
                    <a:pt x="67" y="22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i$1îďè"/>
            <p:cNvSpPr/>
            <p:nvPr/>
          </p:nvSpPr>
          <p:spPr bwMode="auto">
            <a:xfrm>
              <a:off x="3417888" y="3327400"/>
              <a:ext cx="274638" cy="385763"/>
            </a:xfrm>
            <a:custGeom>
              <a:avLst/>
              <a:gdLst>
                <a:gd name="T0" fmla="*/ 72 w 72"/>
                <a:gd name="T1" fmla="*/ 92 h 101"/>
                <a:gd name="T2" fmla="*/ 66 w 72"/>
                <a:gd name="T3" fmla="*/ 94 h 101"/>
                <a:gd name="T4" fmla="*/ 50 w 72"/>
                <a:gd name="T5" fmla="*/ 45 h 101"/>
                <a:gd name="T6" fmla="*/ 35 w 72"/>
                <a:gd name="T7" fmla="*/ 49 h 101"/>
                <a:gd name="T8" fmla="*/ 52 w 72"/>
                <a:gd name="T9" fmla="*/ 99 h 101"/>
                <a:gd name="T10" fmla="*/ 46 w 72"/>
                <a:gd name="T11" fmla="*/ 101 h 101"/>
                <a:gd name="T12" fmla="*/ 29 w 72"/>
                <a:gd name="T13" fmla="*/ 51 h 101"/>
                <a:gd name="T14" fmla="*/ 24 w 72"/>
                <a:gd name="T15" fmla="*/ 53 h 101"/>
                <a:gd name="T16" fmla="*/ 2 w 72"/>
                <a:gd name="T17" fmla="*/ 33 h 101"/>
                <a:gd name="T18" fmla="*/ 1 w 72"/>
                <a:gd name="T19" fmla="*/ 24 h 101"/>
                <a:gd name="T20" fmla="*/ 7 w 72"/>
                <a:gd name="T21" fmla="*/ 18 h 101"/>
                <a:gd name="T22" fmla="*/ 33 w 72"/>
                <a:gd name="T23" fmla="*/ 43 h 101"/>
                <a:gd name="T24" fmla="*/ 48 w 72"/>
                <a:gd name="T25" fmla="*/ 39 h 101"/>
                <a:gd name="T26" fmla="*/ 54 w 72"/>
                <a:gd name="T27" fmla="*/ 2 h 101"/>
                <a:gd name="T28" fmla="*/ 67 w 72"/>
                <a:gd name="T29" fmla="*/ 11 h 101"/>
                <a:gd name="T30" fmla="*/ 69 w 72"/>
                <a:gd name="T31" fmla="*/ 28 h 101"/>
                <a:gd name="T32" fmla="*/ 61 w 72"/>
                <a:gd name="T33" fmla="*/ 41 h 101"/>
                <a:gd name="T34" fmla="*/ 56 w 72"/>
                <a:gd name="T35" fmla="*/ 43 h 101"/>
                <a:gd name="T36" fmla="*/ 72 w 72"/>
                <a:gd name="T37" fmla="*/ 92 h 101"/>
                <a:gd name="T38" fmla="*/ 54 w 72"/>
                <a:gd name="T39" fmla="*/ 37 h 101"/>
                <a:gd name="T40" fmla="*/ 59 w 72"/>
                <a:gd name="T41" fmla="*/ 35 h 101"/>
                <a:gd name="T42" fmla="*/ 61 w 72"/>
                <a:gd name="T43" fmla="*/ 13 h 101"/>
                <a:gd name="T44" fmla="*/ 56 w 72"/>
                <a:gd name="T45" fmla="*/ 8 h 101"/>
                <a:gd name="T46" fmla="*/ 54 w 72"/>
                <a:gd name="T47" fmla="*/ 37 h 101"/>
                <a:gd name="T48" fmla="*/ 9 w 72"/>
                <a:gd name="T49" fmla="*/ 24 h 101"/>
                <a:gd name="T50" fmla="*/ 7 w 72"/>
                <a:gd name="T51" fmla="*/ 26 h 101"/>
                <a:gd name="T52" fmla="*/ 8 w 72"/>
                <a:gd name="T53" fmla="*/ 31 h 101"/>
                <a:gd name="T54" fmla="*/ 22 w 72"/>
                <a:gd name="T55" fmla="*/ 47 h 101"/>
                <a:gd name="T56" fmla="*/ 27 w 72"/>
                <a:gd name="T57" fmla="*/ 45 h 101"/>
                <a:gd name="T58" fmla="*/ 9 w 72"/>
                <a:gd name="T59" fmla="*/ 2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2" h="101">
                  <a:moveTo>
                    <a:pt x="72" y="92"/>
                  </a:moveTo>
                  <a:cubicBezTo>
                    <a:pt x="66" y="94"/>
                    <a:pt x="66" y="94"/>
                    <a:pt x="66" y="9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16" y="56"/>
                    <a:pt x="5" y="43"/>
                    <a:pt x="2" y="33"/>
                  </a:cubicBezTo>
                  <a:cubicBezTo>
                    <a:pt x="1" y="30"/>
                    <a:pt x="0" y="27"/>
                    <a:pt x="1" y="24"/>
                  </a:cubicBezTo>
                  <a:cubicBezTo>
                    <a:pt x="1" y="21"/>
                    <a:pt x="3" y="19"/>
                    <a:pt x="7" y="18"/>
                  </a:cubicBezTo>
                  <a:cubicBezTo>
                    <a:pt x="21" y="13"/>
                    <a:pt x="28" y="26"/>
                    <a:pt x="33" y="43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2" y="21"/>
                    <a:pt x="40" y="7"/>
                    <a:pt x="54" y="2"/>
                  </a:cubicBezTo>
                  <a:cubicBezTo>
                    <a:pt x="56" y="2"/>
                    <a:pt x="63" y="0"/>
                    <a:pt x="67" y="11"/>
                  </a:cubicBezTo>
                  <a:cubicBezTo>
                    <a:pt x="69" y="16"/>
                    <a:pt x="69" y="22"/>
                    <a:pt x="69" y="28"/>
                  </a:cubicBezTo>
                  <a:cubicBezTo>
                    <a:pt x="68" y="35"/>
                    <a:pt x="65" y="40"/>
                    <a:pt x="61" y="41"/>
                  </a:cubicBezTo>
                  <a:cubicBezTo>
                    <a:pt x="56" y="43"/>
                    <a:pt x="56" y="43"/>
                    <a:pt x="56" y="43"/>
                  </a:cubicBezTo>
                  <a:lnTo>
                    <a:pt x="72" y="92"/>
                  </a:lnTo>
                  <a:close/>
                  <a:moveTo>
                    <a:pt x="54" y="37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62" y="34"/>
                    <a:pt x="64" y="22"/>
                    <a:pt x="61" y="13"/>
                  </a:cubicBezTo>
                  <a:cubicBezTo>
                    <a:pt x="60" y="10"/>
                    <a:pt x="59" y="7"/>
                    <a:pt x="56" y="8"/>
                  </a:cubicBezTo>
                  <a:cubicBezTo>
                    <a:pt x="48" y="11"/>
                    <a:pt x="48" y="17"/>
                    <a:pt x="54" y="37"/>
                  </a:cubicBezTo>
                  <a:close/>
                  <a:moveTo>
                    <a:pt x="9" y="24"/>
                  </a:moveTo>
                  <a:cubicBezTo>
                    <a:pt x="8" y="24"/>
                    <a:pt x="7" y="25"/>
                    <a:pt x="7" y="26"/>
                  </a:cubicBezTo>
                  <a:cubicBezTo>
                    <a:pt x="7" y="27"/>
                    <a:pt x="7" y="29"/>
                    <a:pt x="8" y="31"/>
                  </a:cubicBezTo>
                  <a:cubicBezTo>
                    <a:pt x="11" y="40"/>
                    <a:pt x="19" y="48"/>
                    <a:pt x="22" y="47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1" y="26"/>
                    <a:pt x="16" y="21"/>
                    <a:pt x="9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îŝ1íḓé"/>
            <p:cNvSpPr/>
            <p:nvPr/>
          </p:nvSpPr>
          <p:spPr bwMode="auto">
            <a:xfrm>
              <a:off x="3508375" y="3644900"/>
              <a:ext cx="293688" cy="190500"/>
            </a:xfrm>
            <a:custGeom>
              <a:avLst/>
              <a:gdLst>
                <a:gd name="T0" fmla="*/ 70 w 77"/>
                <a:gd name="T1" fmla="*/ 32 h 50"/>
                <a:gd name="T2" fmla="*/ 18 w 77"/>
                <a:gd name="T3" fmla="*/ 49 h 50"/>
                <a:gd name="T4" fmla="*/ 6 w 77"/>
                <a:gd name="T5" fmla="*/ 43 h 50"/>
                <a:gd name="T6" fmla="*/ 2 w 77"/>
                <a:gd name="T7" fmla="*/ 30 h 50"/>
                <a:gd name="T8" fmla="*/ 8 w 77"/>
                <a:gd name="T9" fmla="*/ 18 h 50"/>
                <a:gd name="T10" fmla="*/ 60 w 77"/>
                <a:gd name="T11" fmla="*/ 1 h 50"/>
                <a:gd name="T12" fmla="*/ 72 w 77"/>
                <a:gd name="T13" fmla="*/ 7 h 50"/>
                <a:gd name="T14" fmla="*/ 76 w 77"/>
                <a:gd name="T15" fmla="*/ 20 h 50"/>
                <a:gd name="T16" fmla="*/ 70 w 77"/>
                <a:gd name="T17" fmla="*/ 3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50">
                  <a:moveTo>
                    <a:pt x="70" y="32"/>
                  </a:moveTo>
                  <a:cubicBezTo>
                    <a:pt x="18" y="49"/>
                    <a:pt x="18" y="49"/>
                    <a:pt x="18" y="49"/>
                  </a:cubicBezTo>
                  <a:cubicBezTo>
                    <a:pt x="13" y="50"/>
                    <a:pt x="8" y="48"/>
                    <a:pt x="6" y="43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25"/>
                    <a:pt x="3" y="20"/>
                    <a:pt x="8" y="18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5" y="0"/>
                    <a:pt x="70" y="2"/>
                    <a:pt x="72" y="7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7" y="25"/>
                    <a:pt x="74" y="30"/>
                    <a:pt x="70" y="32"/>
                  </a:cubicBezTo>
                  <a:close/>
                </a:path>
              </a:pathLst>
            </a:custGeom>
            <a:solidFill>
              <a:srgbClr val="040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ïṧḻïdè"/>
            <p:cNvSpPr/>
            <p:nvPr/>
          </p:nvSpPr>
          <p:spPr bwMode="auto">
            <a:xfrm>
              <a:off x="3459163" y="2057400"/>
              <a:ext cx="1084263" cy="701675"/>
            </a:xfrm>
            <a:custGeom>
              <a:avLst/>
              <a:gdLst>
                <a:gd name="T0" fmla="*/ 240 w 284"/>
                <a:gd name="T1" fmla="*/ 64 h 184"/>
                <a:gd name="T2" fmla="*/ 240 w 284"/>
                <a:gd name="T3" fmla="*/ 61 h 184"/>
                <a:gd name="T4" fmla="*/ 179 w 284"/>
                <a:gd name="T5" fmla="*/ 0 h 184"/>
                <a:gd name="T6" fmla="*/ 124 w 284"/>
                <a:gd name="T7" fmla="*/ 35 h 184"/>
                <a:gd name="T8" fmla="*/ 86 w 284"/>
                <a:gd name="T9" fmla="*/ 22 h 184"/>
                <a:gd name="T10" fmla="*/ 25 w 284"/>
                <a:gd name="T11" fmla="*/ 73 h 184"/>
                <a:gd name="T12" fmla="*/ 0 w 284"/>
                <a:gd name="T13" fmla="*/ 122 h 184"/>
                <a:gd name="T14" fmla="*/ 62 w 284"/>
                <a:gd name="T15" fmla="*/ 184 h 184"/>
                <a:gd name="T16" fmla="*/ 223 w 284"/>
                <a:gd name="T17" fmla="*/ 184 h 184"/>
                <a:gd name="T18" fmla="*/ 284 w 284"/>
                <a:gd name="T19" fmla="*/ 122 h 184"/>
                <a:gd name="T20" fmla="*/ 240 w 284"/>
                <a:gd name="T21" fmla="*/ 6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84">
                  <a:moveTo>
                    <a:pt x="240" y="64"/>
                  </a:moveTo>
                  <a:cubicBezTo>
                    <a:pt x="240" y="63"/>
                    <a:pt x="240" y="62"/>
                    <a:pt x="240" y="61"/>
                  </a:cubicBezTo>
                  <a:cubicBezTo>
                    <a:pt x="240" y="27"/>
                    <a:pt x="213" y="0"/>
                    <a:pt x="179" y="0"/>
                  </a:cubicBezTo>
                  <a:cubicBezTo>
                    <a:pt x="155" y="0"/>
                    <a:pt x="134" y="14"/>
                    <a:pt x="124" y="35"/>
                  </a:cubicBezTo>
                  <a:cubicBezTo>
                    <a:pt x="113" y="27"/>
                    <a:pt x="100" y="22"/>
                    <a:pt x="86" y="22"/>
                  </a:cubicBezTo>
                  <a:cubicBezTo>
                    <a:pt x="55" y="22"/>
                    <a:pt x="30" y="44"/>
                    <a:pt x="25" y="73"/>
                  </a:cubicBezTo>
                  <a:cubicBezTo>
                    <a:pt x="10" y="85"/>
                    <a:pt x="0" y="102"/>
                    <a:pt x="0" y="122"/>
                  </a:cubicBezTo>
                  <a:cubicBezTo>
                    <a:pt x="0" y="156"/>
                    <a:pt x="28" y="184"/>
                    <a:pt x="62" y="184"/>
                  </a:cubicBezTo>
                  <a:cubicBezTo>
                    <a:pt x="78" y="184"/>
                    <a:pt x="209" y="184"/>
                    <a:pt x="223" y="184"/>
                  </a:cubicBezTo>
                  <a:cubicBezTo>
                    <a:pt x="257" y="184"/>
                    <a:pt x="284" y="156"/>
                    <a:pt x="284" y="122"/>
                  </a:cubicBezTo>
                  <a:cubicBezTo>
                    <a:pt x="284" y="95"/>
                    <a:pt x="266" y="71"/>
                    <a:pt x="240" y="6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92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ïṩľïḓé"/>
            <p:cNvSpPr/>
            <p:nvPr/>
          </p:nvSpPr>
          <p:spPr bwMode="auto">
            <a:xfrm>
              <a:off x="4532313" y="1250950"/>
              <a:ext cx="217488" cy="439738"/>
            </a:xfrm>
            <a:custGeom>
              <a:avLst/>
              <a:gdLst>
                <a:gd name="T0" fmla="*/ 137 w 137"/>
                <a:gd name="T1" fmla="*/ 0 h 277"/>
                <a:gd name="T2" fmla="*/ 17 w 137"/>
                <a:gd name="T3" fmla="*/ 277 h 277"/>
                <a:gd name="T4" fmla="*/ 0 w 137"/>
                <a:gd name="T5" fmla="*/ 200 h 277"/>
                <a:gd name="T6" fmla="*/ 137 w 137"/>
                <a:gd name="T7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277">
                  <a:moveTo>
                    <a:pt x="137" y="0"/>
                  </a:moveTo>
                  <a:lnTo>
                    <a:pt x="17" y="277"/>
                  </a:lnTo>
                  <a:lnTo>
                    <a:pt x="0" y="200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iSḷïḓé"/>
            <p:cNvSpPr/>
            <p:nvPr/>
          </p:nvSpPr>
          <p:spPr bwMode="auto">
            <a:xfrm>
              <a:off x="4364038" y="1250950"/>
              <a:ext cx="385763" cy="317500"/>
            </a:xfrm>
            <a:custGeom>
              <a:avLst/>
              <a:gdLst>
                <a:gd name="T0" fmla="*/ 0 w 243"/>
                <a:gd name="T1" fmla="*/ 166 h 200"/>
                <a:gd name="T2" fmla="*/ 243 w 243"/>
                <a:gd name="T3" fmla="*/ 0 h 200"/>
                <a:gd name="T4" fmla="*/ 106 w 243"/>
                <a:gd name="T5" fmla="*/ 200 h 200"/>
                <a:gd name="T6" fmla="*/ 0 w 243"/>
                <a:gd name="T7" fmla="*/ 16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3" h="200">
                  <a:moveTo>
                    <a:pt x="0" y="166"/>
                  </a:moveTo>
                  <a:lnTo>
                    <a:pt x="243" y="0"/>
                  </a:lnTo>
                  <a:lnTo>
                    <a:pt x="106" y="200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íṥlidé"/>
            <p:cNvSpPr/>
            <p:nvPr/>
          </p:nvSpPr>
          <p:spPr bwMode="auto">
            <a:xfrm>
              <a:off x="4573588" y="1250950"/>
              <a:ext cx="176213" cy="434975"/>
            </a:xfrm>
            <a:custGeom>
              <a:avLst/>
              <a:gdLst>
                <a:gd name="T0" fmla="*/ 97 w 111"/>
                <a:gd name="T1" fmla="*/ 274 h 274"/>
                <a:gd name="T2" fmla="*/ 0 w 111"/>
                <a:gd name="T3" fmla="*/ 212 h 274"/>
                <a:gd name="T4" fmla="*/ 111 w 111"/>
                <a:gd name="T5" fmla="*/ 0 h 274"/>
                <a:gd name="T6" fmla="*/ 97 w 111"/>
                <a:gd name="T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274">
                  <a:moveTo>
                    <a:pt x="97" y="274"/>
                  </a:moveTo>
                  <a:lnTo>
                    <a:pt x="0" y="212"/>
                  </a:lnTo>
                  <a:lnTo>
                    <a:pt x="111" y="0"/>
                  </a:lnTo>
                  <a:lnTo>
                    <a:pt x="97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í$ļîdê"/>
            <p:cNvSpPr/>
            <p:nvPr/>
          </p:nvSpPr>
          <p:spPr bwMode="auto">
            <a:xfrm>
              <a:off x="4368800" y="1782763"/>
              <a:ext cx="49213" cy="76200"/>
            </a:xfrm>
            <a:custGeom>
              <a:avLst/>
              <a:gdLst>
                <a:gd name="T0" fmla="*/ 4 w 13"/>
                <a:gd name="T1" fmla="*/ 20 h 20"/>
                <a:gd name="T2" fmla="*/ 3 w 13"/>
                <a:gd name="T3" fmla="*/ 20 h 20"/>
                <a:gd name="T4" fmla="*/ 1 w 13"/>
                <a:gd name="T5" fmla="*/ 15 h 20"/>
                <a:gd name="T6" fmla="*/ 6 w 13"/>
                <a:gd name="T7" fmla="*/ 3 h 20"/>
                <a:gd name="T8" fmla="*/ 11 w 13"/>
                <a:gd name="T9" fmla="*/ 1 h 20"/>
                <a:gd name="T10" fmla="*/ 12 w 13"/>
                <a:gd name="T11" fmla="*/ 6 h 20"/>
                <a:gd name="T12" fmla="*/ 8 w 13"/>
                <a:gd name="T13" fmla="*/ 18 h 20"/>
                <a:gd name="T14" fmla="*/ 4 w 1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0">
                  <a:moveTo>
                    <a:pt x="4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2" y="11"/>
                    <a:pt x="4" y="7"/>
                    <a:pt x="6" y="3"/>
                  </a:cubicBezTo>
                  <a:cubicBezTo>
                    <a:pt x="6" y="1"/>
                    <a:pt x="9" y="0"/>
                    <a:pt x="11" y="1"/>
                  </a:cubicBezTo>
                  <a:cubicBezTo>
                    <a:pt x="12" y="2"/>
                    <a:pt x="13" y="4"/>
                    <a:pt x="12" y="6"/>
                  </a:cubicBezTo>
                  <a:cubicBezTo>
                    <a:pt x="11" y="10"/>
                    <a:pt x="9" y="14"/>
                    <a:pt x="8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îṩlîdê"/>
            <p:cNvSpPr/>
            <p:nvPr/>
          </p:nvSpPr>
          <p:spPr bwMode="auto">
            <a:xfrm>
              <a:off x="4344988" y="1808163"/>
              <a:ext cx="760413" cy="890588"/>
            </a:xfrm>
            <a:custGeom>
              <a:avLst/>
              <a:gdLst>
                <a:gd name="T0" fmla="*/ 191 w 199"/>
                <a:gd name="T1" fmla="*/ 233 h 233"/>
                <a:gd name="T2" fmla="*/ 192 w 199"/>
                <a:gd name="T3" fmla="*/ 206 h 233"/>
                <a:gd name="T4" fmla="*/ 195 w 199"/>
                <a:gd name="T5" fmla="*/ 199 h 233"/>
                <a:gd name="T6" fmla="*/ 199 w 199"/>
                <a:gd name="T7" fmla="*/ 206 h 233"/>
                <a:gd name="T8" fmla="*/ 192 w 199"/>
                <a:gd name="T9" fmla="*/ 233 h 233"/>
                <a:gd name="T10" fmla="*/ 189 w 199"/>
                <a:gd name="T11" fmla="*/ 185 h 233"/>
                <a:gd name="T12" fmla="*/ 177 w 199"/>
                <a:gd name="T13" fmla="*/ 163 h 233"/>
                <a:gd name="T14" fmla="*/ 183 w 199"/>
                <a:gd name="T15" fmla="*/ 158 h 233"/>
                <a:gd name="T16" fmla="*/ 196 w 199"/>
                <a:gd name="T17" fmla="*/ 183 h 233"/>
                <a:gd name="T18" fmla="*/ 192 w 199"/>
                <a:gd name="T19" fmla="*/ 188 h 233"/>
                <a:gd name="T20" fmla="*/ 165 w 199"/>
                <a:gd name="T21" fmla="*/ 149 h 233"/>
                <a:gd name="T22" fmla="*/ 143 w 199"/>
                <a:gd name="T23" fmla="*/ 128 h 233"/>
                <a:gd name="T24" fmla="*/ 170 w 199"/>
                <a:gd name="T25" fmla="*/ 143 h 233"/>
                <a:gd name="T26" fmla="*/ 168 w 199"/>
                <a:gd name="T27" fmla="*/ 150 h 233"/>
                <a:gd name="T28" fmla="*/ 128 w 199"/>
                <a:gd name="T29" fmla="*/ 124 h 233"/>
                <a:gd name="T30" fmla="*/ 104 w 199"/>
                <a:gd name="T31" fmla="*/ 115 h 233"/>
                <a:gd name="T32" fmla="*/ 80 w 199"/>
                <a:gd name="T33" fmla="*/ 124 h 233"/>
                <a:gd name="T34" fmla="*/ 79 w 199"/>
                <a:gd name="T35" fmla="*/ 117 h 233"/>
                <a:gd name="T36" fmla="*/ 102 w 199"/>
                <a:gd name="T37" fmla="*/ 107 h 233"/>
                <a:gd name="T38" fmla="*/ 106 w 199"/>
                <a:gd name="T39" fmla="*/ 107 h 233"/>
                <a:gd name="T40" fmla="*/ 131 w 199"/>
                <a:gd name="T41" fmla="*/ 117 h 233"/>
                <a:gd name="T42" fmla="*/ 130 w 199"/>
                <a:gd name="T43" fmla="*/ 125 h 233"/>
                <a:gd name="T44" fmla="*/ 60 w 199"/>
                <a:gd name="T45" fmla="*/ 124 h 233"/>
                <a:gd name="T46" fmla="*/ 33 w 199"/>
                <a:gd name="T47" fmla="*/ 107 h 233"/>
                <a:gd name="T48" fmla="*/ 61 w 199"/>
                <a:gd name="T49" fmla="*/ 116 h 233"/>
                <a:gd name="T50" fmla="*/ 60 w 199"/>
                <a:gd name="T51" fmla="*/ 124 h 233"/>
                <a:gd name="T52" fmla="*/ 86 w 199"/>
                <a:gd name="T53" fmla="*/ 106 h 233"/>
                <a:gd name="T54" fmla="*/ 64 w 199"/>
                <a:gd name="T55" fmla="*/ 88 h 233"/>
                <a:gd name="T56" fmla="*/ 70 w 199"/>
                <a:gd name="T57" fmla="*/ 84 h 233"/>
                <a:gd name="T58" fmla="*/ 89 w 199"/>
                <a:gd name="T59" fmla="*/ 99 h 233"/>
                <a:gd name="T60" fmla="*/ 87 w 199"/>
                <a:gd name="T61" fmla="*/ 106 h 233"/>
                <a:gd name="T62" fmla="*/ 115 w 199"/>
                <a:gd name="T63" fmla="*/ 100 h 233"/>
                <a:gd name="T64" fmla="*/ 127 w 199"/>
                <a:gd name="T65" fmla="*/ 73 h 233"/>
                <a:gd name="T66" fmla="*/ 134 w 199"/>
                <a:gd name="T67" fmla="*/ 75 h 233"/>
                <a:gd name="T68" fmla="*/ 118 w 199"/>
                <a:gd name="T69" fmla="*/ 101 h 233"/>
                <a:gd name="T70" fmla="*/ 19 w 199"/>
                <a:gd name="T71" fmla="*/ 99 h 233"/>
                <a:gd name="T72" fmla="*/ 5 w 199"/>
                <a:gd name="T73" fmla="*/ 75 h 233"/>
                <a:gd name="T74" fmla="*/ 12 w 199"/>
                <a:gd name="T75" fmla="*/ 72 h 233"/>
                <a:gd name="T76" fmla="*/ 25 w 199"/>
                <a:gd name="T77" fmla="*/ 94 h 233"/>
                <a:gd name="T78" fmla="*/ 22 w 199"/>
                <a:gd name="T79" fmla="*/ 100 h 233"/>
                <a:gd name="T80" fmla="*/ 54 w 199"/>
                <a:gd name="T81" fmla="*/ 71 h 233"/>
                <a:gd name="T82" fmla="*/ 50 w 199"/>
                <a:gd name="T83" fmla="*/ 42 h 233"/>
                <a:gd name="T84" fmla="*/ 58 w 199"/>
                <a:gd name="T85" fmla="*/ 43 h 233"/>
                <a:gd name="T86" fmla="*/ 61 w 199"/>
                <a:gd name="T87" fmla="*/ 68 h 233"/>
                <a:gd name="T88" fmla="*/ 57 w 199"/>
                <a:gd name="T89" fmla="*/ 73 h 233"/>
                <a:gd name="T90" fmla="*/ 135 w 199"/>
                <a:gd name="T91" fmla="*/ 59 h 233"/>
                <a:gd name="T92" fmla="*/ 133 w 199"/>
                <a:gd name="T93" fmla="*/ 46 h 233"/>
                <a:gd name="T94" fmla="*/ 132 w 199"/>
                <a:gd name="T95" fmla="*/ 25 h 233"/>
                <a:gd name="T96" fmla="*/ 140 w 199"/>
                <a:gd name="T97" fmla="*/ 46 h 233"/>
                <a:gd name="T98" fmla="*/ 136 w 199"/>
                <a:gd name="T99" fmla="*/ 59 h 233"/>
                <a:gd name="T100" fmla="*/ 1 w 199"/>
                <a:gd name="T101" fmla="*/ 55 h 233"/>
                <a:gd name="T102" fmla="*/ 2 w 199"/>
                <a:gd name="T103" fmla="*/ 27 h 233"/>
                <a:gd name="T104" fmla="*/ 9 w 199"/>
                <a:gd name="T105" fmla="*/ 29 h 233"/>
                <a:gd name="T106" fmla="*/ 8 w 199"/>
                <a:gd name="T107" fmla="*/ 54 h 233"/>
                <a:gd name="T108" fmla="*/ 60 w 199"/>
                <a:gd name="T109" fmla="*/ 29 h 233"/>
                <a:gd name="T110" fmla="*/ 57 w 199"/>
                <a:gd name="T111" fmla="*/ 23 h 233"/>
                <a:gd name="T112" fmla="*/ 79 w 199"/>
                <a:gd name="T113" fmla="*/ 4 h 233"/>
                <a:gd name="T114" fmla="*/ 82 w 199"/>
                <a:gd name="T115" fmla="*/ 11 h 233"/>
                <a:gd name="T116" fmla="*/ 63 w 199"/>
                <a:gd name="T117" fmla="*/ 27 h 233"/>
                <a:gd name="T118" fmla="*/ 123 w 199"/>
                <a:gd name="T119" fmla="*/ 17 h 233"/>
                <a:gd name="T120" fmla="*/ 99 w 199"/>
                <a:gd name="T121" fmla="*/ 8 h 233"/>
                <a:gd name="T122" fmla="*/ 99 w 199"/>
                <a:gd name="T123" fmla="*/ 0 h 233"/>
                <a:gd name="T124" fmla="*/ 126 w 199"/>
                <a:gd name="T125" fmla="*/ 1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9" h="233">
                  <a:moveTo>
                    <a:pt x="192" y="233"/>
                  </a:moveTo>
                  <a:cubicBezTo>
                    <a:pt x="191" y="233"/>
                    <a:pt x="191" y="233"/>
                    <a:pt x="191" y="233"/>
                  </a:cubicBezTo>
                  <a:cubicBezTo>
                    <a:pt x="189" y="232"/>
                    <a:pt x="188" y="230"/>
                    <a:pt x="188" y="228"/>
                  </a:cubicBezTo>
                  <a:cubicBezTo>
                    <a:pt x="191" y="221"/>
                    <a:pt x="192" y="214"/>
                    <a:pt x="192" y="206"/>
                  </a:cubicBezTo>
                  <a:cubicBezTo>
                    <a:pt x="192" y="205"/>
                    <a:pt x="192" y="204"/>
                    <a:pt x="192" y="203"/>
                  </a:cubicBezTo>
                  <a:cubicBezTo>
                    <a:pt x="192" y="201"/>
                    <a:pt x="193" y="199"/>
                    <a:pt x="195" y="199"/>
                  </a:cubicBezTo>
                  <a:cubicBezTo>
                    <a:pt x="197" y="199"/>
                    <a:pt x="199" y="201"/>
                    <a:pt x="199" y="203"/>
                  </a:cubicBezTo>
                  <a:cubicBezTo>
                    <a:pt x="199" y="204"/>
                    <a:pt x="199" y="205"/>
                    <a:pt x="199" y="206"/>
                  </a:cubicBezTo>
                  <a:cubicBezTo>
                    <a:pt x="199" y="215"/>
                    <a:pt x="198" y="223"/>
                    <a:pt x="195" y="231"/>
                  </a:cubicBezTo>
                  <a:cubicBezTo>
                    <a:pt x="195" y="232"/>
                    <a:pt x="193" y="233"/>
                    <a:pt x="192" y="233"/>
                  </a:cubicBezTo>
                  <a:close/>
                  <a:moveTo>
                    <a:pt x="192" y="188"/>
                  </a:moveTo>
                  <a:cubicBezTo>
                    <a:pt x="191" y="188"/>
                    <a:pt x="189" y="187"/>
                    <a:pt x="189" y="185"/>
                  </a:cubicBezTo>
                  <a:cubicBezTo>
                    <a:pt x="188" y="183"/>
                    <a:pt x="187" y="182"/>
                    <a:pt x="187" y="180"/>
                  </a:cubicBezTo>
                  <a:cubicBezTo>
                    <a:pt x="184" y="174"/>
                    <a:pt x="181" y="168"/>
                    <a:pt x="177" y="163"/>
                  </a:cubicBezTo>
                  <a:cubicBezTo>
                    <a:pt x="176" y="161"/>
                    <a:pt x="176" y="159"/>
                    <a:pt x="178" y="157"/>
                  </a:cubicBezTo>
                  <a:cubicBezTo>
                    <a:pt x="180" y="156"/>
                    <a:pt x="182" y="157"/>
                    <a:pt x="183" y="158"/>
                  </a:cubicBezTo>
                  <a:cubicBezTo>
                    <a:pt x="188" y="164"/>
                    <a:pt x="191" y="170"/>
                    <a:pt x="194" y="177"/>
                  </a:cubicBezTo>
                  <a:cubicBezTo>
                    <a:pt x="194" y="179"/>
                    <a:pt x="195" y="181"/>
                    <a:pt x="196" y="183"/>
                  </a:cubicBezTo>
                  <a:cubicBezTo>
                    <a:pt x="196" y="185"/>
                    <a:pt x="195" y="187"/>
                    <a:pt x="193" y="188"/>
                  </a:cubicBezTo>
                  <a:cubicBezTo>
                    <a:pt x="193" y="188"/>
                    <a:pt x="193" y="188"/>
                    <a:pt x="192" y="188"/>
                  </a:cubicBezTo>
                  <a:close/>
                  <a:moveTo>
                    <a:pt x="168" y="150"/>
                  </a:moveTo>
                  <a:cubicBezTo>
                    <a:pt x="167" y="150"/>
                    <a:pt x="166" y="149"/>
                    <a:pt x="165" y="149"/>
                  </a:cubicBezTo>
                  <a:cubicBezTo>
                    <a:pt x="159" y="143"/>
                    <a:pt x="152" y="138"/>
                    <a:pt x="144" y="133"/>
                  </a:cubicBezTo>
                  <a:cubicBezTo>
                    <a:pt x="143" y="132"/>
                    <a:pt x="142" y="130"/>
                    <a:pt x="143" y="128"/>
                  </a:cubicBezTo>
                  <a:cubicBezTo>
                    <a:pt x="144" y="126"/>
                    <a:pt x="147" y="125"/>
                    <a:pt x="148" y="127"/>
                  </a:cubicBezTo>
                  <a:cubicBezTo>
                    <a:pt x="157" y="132"/>
                    <a:pt x="164" y="137"/>
                    <a:pt x="170" y="143"/>
                  </a:cubicBezTo>
                  <a:cubicBezTo>
                    <a:pt x="172" y="145"/>
                    <a:pt x="172" y="147"/>
                    <a:pt x="170" y="149"/>
                  </a:cubicBezTo>
                  <a:cubicBezTo>
                    <a:pt x="170" y="149"/>
                    <a:pt x="169" y="150"/>
                    <a:pt x="168" y="150"/>
                  </a:cubicBezTo>
                  <a:close/>
                  <a:moveTo>
                    <a:pt x="130" y="125"/>
                  </a:moveTo>
                  <a:cubicBezTo>
                    <a:pt x="129" y="125"/>
                    <a:pt x="128" y="125"/>
                    <a:pt x="128" y="124"/>
                  </a:cubicBezTo>
                  <a:cubicBezTo>
                    <a:pt x="123" y="122"/>
                    <a:pt x="117" y="120"/>
                    <a:pt x="112" y="118"/>
                  </a:cubicBezTo>
                  <a:cubicBezTo>
                    <a:pt x="109" y="117"/>
                    <a:pt x="107" y="116"/>
                    <a:pt x="104" y="115"/>
                  </a:cubicBezTo>
                  <a:cubicBezTo>
                    <a:pt x="98" y="119"/>
                    <a:pt x="92" y="121"/>
                    <a:pt x="86" y="123"/>
                  </a:cubicBezTo>
                  <a:cubicBezTo>
                    <a:pt x="84" y="124"/>
                    <a:pt x="82" y="124"/>
                    <a:pt x="80" y="124"/>
                  </a:cubicBezTo>
                  <a:cubicBezTo>
                    <a:pt x="78" y="125"/>
                    <a:pt x="76" y="123"/>
                    <a:pt x="76" y="121"/>
                  </a:cubicBezTo>
                  <a:cubicBezTo>
                    <a:pt x="75" y="119"/>
                    <a:pt x="77" y="117"/>
                    <a:pt x="79" y="117"/>
                  </a:cubicBezTo>
                  <a:cubicBezTo>
                    <a:pt x="80" y="117"/>
                    <a:pt x="82" y="116"/>
                    <a:pt x="84" y="116"/>
                  </a:cubicBezTo>
                  <a:cubicBezTo>
                    <a:pt x="90" y="114"/>
                    <a:pt x="96" y="111"/>
                    <a:pt x="102" y="107"/>
                  </a:cubicBezTo>
                  <a:cubicBezTo>
                    <a:pt x="103" y="106"/>
                    <a:pt x="105" y="106"/>
                    <a:pt x="106" y="107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9" y="108"/>
                    <a:pt x="112" y="110"/>
                    <a:pt x="115" y="111"/>
                  </a:cubicBezTo>
                  <a:cubicBezTo>
                    <a:pt x="120" y="113"/>
                    <a:pt x="126" y="115"/>
                    <a:pt x="131" y="117"/>
                  </a:cubicBezTo>
                  <a:cubicBezTo>
                    <a:pt x="133" y="118"/>
                    <a:pt x="134" y="120"/>
                    <a:pt x="133" y="122"/>
                  </a:cubicBezTo>
                  <a:cubicBezTo>
                    <a:pt x="132" y="124"/>
                    <a:pt x="131" y="125"/>
                    <a:pt x="130" y="125"/>
                  </a:cubicBezTo>
                  <a:close/>
                  <a:moveTo>
                    <a:pt x="60" y="124"/>
                  </a:moveTo>
                  <a:cubicBezTo>
                    <a:pt x="60" y="124"/>
                    <a:pt x="60" y="124"/>
                    <a:pt x="60" y="124"/>
                  </a:cubicBezTo>
                  <a:cubicBezTo>
                    <a:pt x="51" y="122"/>
                    <a:pt x="42" y="118"/>
                    <a:pt x="34" y="112"/>
                  </a:cubicBezTo>
                  <a:cubicBezTo>
                    <a:pt x="32" y="111"/>
                    <a:pt x="32" y="109"/>
                    <a:pt x="33" y="107"/>
                  </a:cubicBezTo>
                  <a:cubicBezTo>
                    <a:pt x="34" y="106"/>
                    <a:pt x="36" y="105"/>
                    <a:pt x="38" y="106"/>
                  </a:cubicBezTo>
                  <a:cubicBezTo>
                    <a:pt x="45" y="111"/>
                    <a:pt x="53" y="115"/>
                    <a:pt x="61" y="116"/>
                  </a:cubicBezTo>
                  <a:cubicBezTo>
                    <a:pt x="63" y="117"/>
                    <a:pt x="64" y="119"/>
                    <a:pt x="64" y="121"/>
                  </a:cubicBezTo>
                  <a:cubicBezTo>
                    <a:pt x="64" y="122"/>
                    <a:pt x="62" y="124"/>
                    <a:pt x="60" y="124"/>
                  </a:cubicBezTo>
                  <a:close/>
                  <a:moveTo>
                    <a:pt x="87" y="106"/>
                  </a:moveTo>
                  <a:cubicBezTo>
                    <a:pt x="87" y="106"/>
                    <a:pt x="86" y="106"/>
                    <a:pt x="86" y="106"/>
                  </a:cubicBezTo>
                  <a:cubicBezTo>
                    <a:pt x="80" y="103"/>
                    <a:pt x="75" y="99"/>
                    <a:pt x="70" y="95"/>
                  </a:cubicBezTo>
                  <a:cubicBezTo>
                    <a:pt x="68" y="93"/>
                    <a:pt x="66" y="91"/>
                    <a:pt x="64" y="88"/>
                  </a:cubicBezTo>
                  <a:cubicBezTo>
                    <a:pt x="62" y="87"/>
                    <a:pt x="63" y="84"/>
                    <a:pt x="64" y="83"/>
                  </a:cubicBezTo>
                  <a:cubicBezTo>
                    <a:pt x="66" y="82"/>
                    <a:pt x="68" y="82"/>
                    <a:pt x="70" y="84"/>
                  </a:cubicBezTo>
                  <a:cubicBezTo>
                    <a:pt x="71" y="86"/>
                    <a:pt x="73" y="88"/>
                    <a:pt x="75" y="90"/>
                  </a:cubicBezTo>
                  <a:cubicBezTo>
                    <a:pt x="79" y="93"/>
                    <a:pt x="84" y="96"/>
                    <a:pt x="89" y="99"/>
                  </a:cubicBezTo>
                  <a:cubicBezTo>
                    <a:pt x="91" y="100"/>
                    <a:pt x="92" y="103"/>
                    <a:pt x="91" y="104"/>
                  </a:cubicBezTo>
                  <a:cubicBezTo>
                    <a:pt x="90" y="106"/>
                    <a:pt x="89" y="106"/>
                    <a:pt x="87" y="106"/>
                  </a:cubicBezTo>
                  <a:close/>
                  <a:moveTo>
                    <a:pt x="118" y="101"/>
                  </a:moveTo>
                  <a:cubicBezTo>
                    <a:pt x="117" y="101"/>
                    <a:pt x="116" y="101"/>
                    <a:pt x="115" y="100"/>
                  </a:cubicBezTo>
                  <a:cubicBezTo>
                    <a:pt x="114" y="99"/>
                    <a:pt x="113" y="96"/>
                    <a:pt x="115" y="95"/>
                  </a:cubicBezTo>
                  <a:cubicBezTo>
                    <a:pt x="120" y="88"/>
                    <a:pt x="124" y="81"/>
                    <a:pt x="127" y="73"/>
                  </a:cubicBezTo>
                  <a:cubicBezTo>
                    <a:pt x="128" y="71"/>
                    <a:pt x="130" y="70"/>
                    <a:pt x="132" y="70"/>
                  </a:cubicBezTo>
                  <a:cubicBezTo>
                    <a:pt x="134" y="71"/>
                    <a:pt x="135" y="73"/>
                    <a:pt x="134" y="75"/>
                  </a:cubicBezTo>
                  <a:cubicBezTo>
                    <a:pt x="131" y="84"/>
                    <a:pt x="126" y="92"/>
                    <a:pt x="121" y="100"/>
                  </a:cubicBezTo>
                  <a:cubicBezTo>
                    <a:pt x="120" y="100"/>
                    <a:pt x="119" y="101"/>
                    <a:pt x="118" y="101"/>
                  </a:cubicBezTo>
                  <a:close/>
                  <a:moveTo>
                    <a:pt x="22" y="100"/>
                  </a:moveTo>
                  <a:cubicBezTo>
                    <a:pt x="21" y="100"/>
                    <a:pt x="20" y="100"/>
                    <a:pt x="19" y="99"/>
                  </a:cubicBezTo>
                  <a:cubicBezTo>
                    <a:pt x="15" y="94"/>
                    <a:pt x="12" y="89"/>
                    <a:pt x="9" y="84"/>
                  </a:cubicBezTo>
                  <a:cubicBezTo>
                    <a:pt x="8" y="81"/>
                    <a:pt x="6" y="78"/>
                    <a:pt x="5" y="75"/>
                  </a:cubicBezTo>
                  <a:cubicBezTo>
                    <a:pt x="4" y="73"/>
                    <a:pt x="6" y="70"/>
                    <a:pt x="7" y="70"/>
                  </a:cubicBezTo>
                  <a:cubicBezTo>
                    <a:pt x="9" y="69"/>
                    <a:pt x="12" y="70"/>
                    <a:pt x="12" y="72"/>
                  </a:cubicBezTo>
                  <a:cubicBezTo>
                    <a:pt x="13" y="75"/>
                    <a:pt x="14" y="78"/>
                    <a:pt x="16" y="81"/>
                  </a:cubicBezTo>
                  <a:cubicBezTo>
                    <a:pt x="18" y="85"/>
                    <a:pt x="21" y="90"/>
                    <a:pt x="25" y="94"/>
                  </a:cubicBezTo>
                  <a:cubicBezTo>
                    <a:pt x="26" y="96"/>
                    <a:pt x="26" y="98"/>
                    <a:pt x="24" y="99"/>
                  </a:cubicBezTo>
                  <a:cubicBezTo>
                    <a:pt x="23" y="100"/>
                    <a:pt x="23" y="100"/>
                    <a:pt x="22" y="100"/>
                  </a:cubicBezTo>
                  <a:close/>
                  <a:moveTo>
                    <a:pt x="57" y="73"/>
                  </a:moveTo>
                  <a:cubicBezTo>
                    <a:pt x="56" y="73"/>
                    <a:pt x="54" y="72"/>
                    <a:pt x="54" y="71"/>
                  </a:cubicBezTo>
                  <a:cubicBezTo>
                    <a:pt x="51" y="64"/>
                    <a:pt x="50" y="56"/>
                    <a:pt x="50" y="49"/>
                  </a:cubicBezTo>
                  <a:cubicBezTo>
                    <a:pt x="50" y="47"/>
                    <a:pt x="50" y="45"/>
                    <a:pt x="50" y="42"/>
                  </a:cubicBezTo>
                  <a:cubicBezTo>
                    <a:pt x="51" y="40"/>
                    <a:pt x="52" y="39"/>
                    <a:pt x="54" y="39"/>
                  </a:cubicBezTo>
                  <a:cubicBezTo>
                    <a:pt x="57" y="39"/>
                    <a:pt x="58" y="41"/>
                    <a:pt x="58" y="43"/>
                  </a:cubicBezTo>
                  <a:cubicBezTo>
                    <a:pt x="58" y="45"/>
                    <a:pt x="57" y="47"/>
                    <a:pt x="57" y="49"/>
                  </a:cubicBezTo>
                  <a:cubicBezTo>
                    <a:pt x="57" y="55"/>
                    <a:pt x="59" y="62"/>
                    <a:pt x="61" y="68"/>
                  </a:cubicBezTo>
                  <a:cubicBezTo>
                    <a:pt x="62" y="70"/>
                    <a:pt x="61" y="72"/>
                    <a:pt x="59" y="73"/>
                  </a:cubicBezTo>
                  <a:cubicBezTo>
                    <a:pt x="58" y="73"/>
                    <a:pt x="58" y="73"/>
                    <a:pt x="57" y="73"/>
                  </a:cubicBezTo>
                  <a:close/>
                  <a:moveTo>
                    <a:pt x="136" y="59"/>
                  </a:moveTo>
                  <a:cubicBezTo>
                    <a:pt x="135" y="59"/>
                    <a:pt x="135" y="59"/>
                    <a:pt x="135" y="59"/>
                  </a:cubicBezTo>
                  <a:cubicBezTo>
                    <a:pt x="133" y="59"/>
                    <a:pt x="132" y="57"/>
                    <a:pt x="132" y="55"/>
                  </a:cubicBezTo>
                  <a:cubicBezTo>
                    <a:pt x="132" y="52"/>
                    <a:pt x="133" y="49"/>
                    <a:pt x="133" y="46"/>
                  </a:cubicBezTo>
                  <a:cubicBezTo>
                    <a:pt x="133" y="41"/>
                    <a:pt x="132" y="35"/>
                    <a:pt x="130" y="30"/>
                  </a:cubicBezTo>
                  <a:cubicBezTo>
                    <a:pt x="129" y="28"/>
                    <a:pt x="131" y="26"/>
                    <a:pt x="132" y="25"/>
                  </a:cubicBezTo>
                  <a:cubicBezTo>
                    <a:pt x="134" y="25"/>
                    <a:pt x="137" y="26"/>
                    <a:pt x="137" y="28"/>
                  </a:cubicBezTo>
                  <a:cubicBezTo>
                    <a:pt x="139" y="33"/>
                    <a:pt x="140" y="40"/>
                    <a:pt x="140" y="46"/>
                  </a:cubicBezTo>
                  <a:cubicBezTo>
                    <a:pt x="140" y="49"/>
                    <a:pt x="140" y="53"/>
                    <a:pt x="140" y="56"/>
                  </a:cubicBezTo>
                  <a:cubicBezTo>
                    <a:pt x="139" y="58"/>
                    <a:pt x="138" y="59"/>
                    <a:pt x="136" y="59"/>
                  </a:cubicBezTo>
                  <a:close/>
                  <a:moveTo>
                    <a:pt x="5" y="58"/>
                  </a:moveTo>
                  <a:cubicBezTo>
                    <a:pt x="3" y="58"/>
                    <a:pt x="1" y="57"/>
                    <a:pt x="1" y="55"/>
                  </a:cubicBezTo>
                  <a:cubicBezTo>
                    <a:pt x="1" y="52"/>
                    <a:pt x="0" y="48"/>
                    <a:pt x="0" y="45"/>
                  </a:cubicBezTo>
                  <a:cubicBezTo>
                    <a:pt x="0" y="39"/>
                    <a:pt x="1" y="33"/>
                    <a:pt x="2" y="27"/>
                  </a:cubicBezTo>
                  <a:cubicBezTo>
                    <a:pt x="2" y="25"/>
                    <a:pt x="4" y="24"/>
                    <a:pt x="6" y="24"/>
                  </a:cubicBezTo>
                  <a:cubicBezTo>
                    <a:pt x="8" y="25"/>
                    <a:pt x="10" y="27"/>
                    <a:pt x="9" y="29"/>
                  </a:cubicBezTo>
                  <a:cubicBezTo>
                    <a:pt x="8" y="34"/>
                    <a:pt x="8" y="39"/>
                    <a:pt x="8" y="45"/>
                  </a:cubicBezTo>
                  <a:cubicBezTo>
                    <a:pt x="8" y="48"/>
                    <a:pt x="8" y="51"/>
                    <a:pt x="8" y="54"/>
                  </a:cubicBezTo>
                  <a:cubicBezTo>
                    <a:pt x="9" y="56"/>
                    <a:pt x="7" y="58"/>
                    <a:pt x="5" y="58"/>
                  </a:cubicBezTo>
                  <a:close/>
                  <a:moveTo>
                    <a:pt x="60" y="29"/>
                  </a:moveTo>
                  <a:cubicBezTo>
                    <a:pt x="59" y="29"/>
                    <a:pt x="59" y="28"/>
                    <a:pt x="58" y="28"/>
                  </a:cubicBezTo>
                  <a:cubicBezTo>
                    <a:pt x="56" y="27"/>
                    <a:pt x="56" y="25"/>
                    <a:pt x="57" y="23"/>
                  </a:cubicBezTo>
                  <a:cubicBezTo>
                    <a:pt x="57" y="23"/>
                    <a:pt x="57" y="22"/>
                    <a:pt x="58" y="22"/>
                  </a:cubicBezTo>
                  <a:cubicBezTo>
                    <a:pt x="62" y="14"/>
                    <a:pt x="70" y="8"/>
                    <a:pt x="79" y="4"/>
                  </a:cubicBezTo>
                  <a:cubicBezTo>
                    <a:pt x="81" y="4"/>
                    <a:pt x="83" y="4"/>
                    <a:pt x="84" y="6"/>
                  </a:cubicBezTo>
                  <a:cubicBezTo>
                    <a:pt x="84" y="8"/>
                    <a:pt x="83" y="11"/>
                    <a:pt x="82" y="11"/>
                  </a:cubicBezTo>
                  <a:cubicBezTo>
                    <a:pt x="74" y="14"/>
                    <a:pt x="68" y="19"/>
                    <a:pt x="64" y="26"/>
                  </a:cubicBezTo>
                  <a:cubicBezTo>
                    <a:pt x="64" y="26"/>
                    <a:pt x="64" y="26"/>
                    <a:pt x="63" y="27"/>
                  </a:cubicBezTo>
                  <a:cubicBezTo>
                    <a:pt x="63" y="28"/>
                    <a:pt x="61" y="29"/>
                    <a:pt x="60" y="29"/>
                  </a:cubicBezTo>
                  <a:close/>
                  <a:moveTo>
                    <a:pt x="123" y="17"/>
                  </a:moveTo>
                  <a:cubicBezTo>
                    <a:pt x="123" y="17"/>
                    <a:pt x="122" y="17"/>
                    <a:pt x="121" y="16"/>
                  </a:cubicBezTo>
                  <a:cubicBezTo>
                    <a:pt x="115" y="11"/>
                    <a:pt x="107" y="8"/>
                    <a:pt x="99" y="8"/>
                  </a:cubicBezTo>
                  <a:cubicBezTo>
                    <a:pt x="97" y="8"/>
                    <a:pt x="95" y="6"/>
                    <a:pt x="95" y="4"/>
                  </a:cubicBezTo>
                  <a:cubicBezTo>
                    <a:pt x="95" y="2"/>
                    <a:pt x="97" y="0"/>
                    <a:pt x="99" y="0"/>
                  </a:cubicBezTo>
                  <a:cubicBezTo>
                    <a:pt x="109" y="1"/>
                    <a:pt x="119" y="4"/>
                    <a:pt x="126" y="10"/>
                  </a:cubicBezTo>
                  <a:cubicBezTo>
                    <a:pt x="127" y="12"/>
                    <a:pt x="128" y="14"/>
                    <a:pt x="126" y="16"/>
                  </a:cubicBezTo>
                  <a:cubicBezTo>
                    <a:pt x="125" y="17"/>
                    <a:pt x="124" y="17"/>
                    <a:pt x="123" y="17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îṡḻíḋe"/>
            <p:cNvSpPr/>
            <p:nvPr/>
          </p:nvSpPr>
          <p:spPr bwMode="auto">
            <a:xfrm>
              <a:off x="4991100" y="2732088"/>
              <a:ext cx="68263" cy="68263"/>
            </a:xfrm>
            <a:custGeom>
              <a:avLst/>
              <a:gdLst>
                <a:gd name="T0" fmla="*/ 5 w 18"/>
                <a:gd name="T1" fmla="*/ 18 h 18"/>
                <a:gd name="T2" fmla="*/ 2 w 18"/>
                <a:gd name="T3" fmla="*/ 16 h 18"/>
                <a:gd name="T4" fmla="*/ 2 w 18"/>
                <a:gd name="T5" fmla="*/ 11 h 18"/>
                <a:gd name="T6" fmla="*/ 11 w 18"/>
                <a:gd name="T7" fmla="*/ 2 h 18"/>
                <a:gd name="T8" fmla="*/ 16 w 18"/>
                <a:gd name="T9" fmla="*/ 2 h 18"/>
                <a:gd name="T10" fmla="*/ 17 w 18"/>
                <a:gd name="T11" fmla="*/ 7 h 18"/>
                <a:gd name="T12" fmla="*/ 7 w 18"/>
                <a:gd name="T13" fmla="*/ 17 h 18"/>
                <a:gd name="T14" fmla="*/ 5 w 18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8">
                  <a:moveTo>
                    <a:pt x="5" y="18"/>
                  </a:moveTo>
                  <a:cubicBezTo>
                    <a:pt x="4" y="18"/>
                    <a:pt x="3" y="17"/>
                    <a:pt x="2" y="16"/>
                  </a:cubicBezTo>
                  <a:cubicBezTo>
                    <a:pt x="0" y="15"/>
                    <a:pt x="1" y="12"/>
                    <a:pt x="2" y="11"/>
                  </a:cubicBezTo>
                  <a:cubicBezTo>
                    <a:pt x="6" y="9"/>
                    <a:pt x="8" y="6"/>
                    <a:pt x="11" y="2"/>
                  </a:cubicBezTo>
                  <a:cubicBezTo>
                    <a:pt x="12" y="1"/>
                    <a:pt x="14" y="0"/>
                    <a:pt x="16" y="2"/>
                  </a:cubicBezTo>
                  <a:cubicBezTo>
                    <a:pt x="18" y="3"/>
                    <a:pt x="18" y="5"/>
                    <a:pt x="17" y="7"/>
                  </a:cubicBezTo>
                  <a:cubicBezTo>
                    <a:pt x="14" y="11"/>
                    <a:pt x="11" y="14"/>
                    <a:pt x="7" y="17"/>
                  </a:cubicBezTo>
                  <a:cubicBezTo>
                    <a:pt x="6" y="18"/>
                    <a:pt x="6" y="18"/>
                    <a:pt x="5" y="18"/>
                  </a:cubicBezTo>
                  <a:close/>
                </a:path>
              </a:pathLst>
            </a:custGeom>
            <a:solidFill>
              <a:srgbClr val="FF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isļîḑê"/>
            <p:cNvSpPr/>
            <p:nvPr/>
          </p:nvSpPr>
          <p:spPr bwMode="auto">
            <a:xfrm>
              <a:off x="7705725" y="1831975"/>
              <a:ext cx="477838" cy="282575"/>
            </a:xfrm>
            <a:custGeom>
              <a:avLst/>
              <a:gdLst>
                <a:gd name="T0" fmla="*/ 0 w 301"/>
                <a:gd name="T1" fmla="*/ 0 h 178"/>
                <a:gd name="T2" fmla="*/ 301 w 301"/>
                <a:gd name="T3" fmla="*/ 178 h 178"/>
                <a:gd name="T4" fmla="*/ 267 w 301"/>
                <a:gd name="T5" fmla="*/ 74 h 178"/>
                <a:gd name="T6" fmla="*/ 0 w 301"/>
                <a:gd name="T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1" h="178">
                  <a:moveTo>
                    <a:pt x="0" y="0"/>
                  </a:moveTo>
                  <a:lnTo>
                    <a:pt x="301" y="178"/>
                  </a:lnTo>
                  <a:lnTo>
                    <a:pt x="267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ïŝḻîde"/>
            <p:cNvSpPr/>
            <p:nvPr/>
          </p:nvSpPr>
          <p:spPr bwMode="auto">
            <a:xfrm>
              <a:off x="7705725" y="1831975"/>
              <a:ext cx="561975" cy="117475"/>
            </a:xfrm>
            <a:custGeom>
              <a:avLst/>
              <a:gdLst>
                <a:gd name="T0" fmla="*/ 354 w 354"/>
                <a:gd name="T1" fmla="*/ 0 h 74"/>
                <a:gd name="T2" fmla="*/ 0 w 354"/>
                <a:gd name="T3" fmla="*/ 0 h 74"/>
                <a:gd name="T4" fmla="*/ 267 w 354"/>
                <a:gd name="T5" fmla="*/ 74 h 74"/>
                <a:gd name="T6" fmla="*/ 354 w 354"/>
                <a:gd name="T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" h="74">
                  <a:moveTo>
                    <a:pt x="354" y="0"/>
                  </a:moveTo>
                  <a:lnTo>
                    <a:pt x="0" y="0"/>
                  </a:lnTo>
                  <a:lnTo>
                    <a:pt x="267" y="7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íŝḷiḍê"/>
            <p:cNvSpPr/>
            <p:nvPr/>
          </p:nvSpPr>
          <p:spPr bwMode="auto">
            <a:xfrm>
              <a:off x="7705725" y="1831975"/>
              <a:ext cx="404813" cy="334963"/>
            </a:xfrm>
            <a:custGeom>
              <a:avLst/>
              <a:gdLst>
                <a:gd name="T0" fmla="*/ 0 w 255"/>
                <a:gd name="T1" fmla="*/ 0 h 211"/>
                <a:gd name="T2" fmla="*/ 202 w 255"/>
                <a:gd name="T3" fmla="*/ 211 h 211"/>
                <a:gd name="T4" fmla="*/ 255 w 255"/>
                <a:gd name="T5" fmla="*/ 108 h 211"/>
                <a:gd name="T6" fmla="*/ 0 w 255"/>
                <a:gd name="T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211">
                  <a:moveTo>
                    <a:pt x="0" y="0"/>
                  </a:moveTo>
                  <a:lnTo>
                    <a:pt x="202" y="211"/>
                  </a:lnTo>
                  <a:lnTo>
                    <a:pt x="255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ï$líḋè"/>
            <p:cNvSpPr/>
            <p:nvPr/>
          </p:nvSpPr>
          <p:spPr bwMode="auto">
            <a:xfrm>
              <a:off x="7740650" y="1987550"/>
              <a:ext cx="969963" cy="1236663"/>
            </a:xfrm>
            <a:custGeom>
              <a:avLst/>
              <a:gdLst>
                <a:gd name="T0" fmla="*/ 49 w 254"/>
                <a:gd name="T1" fmla="*/ 318 h 324"/>
                <a:gd name="T2" fmla="*/ 74 w 254"/>
                <a:gd name="T3" fmla="*/ 320 h 324"/>
                <a:gd name="T4" fmla="*/ 35 w 254"/>
                <a:gd name="T5" fmla="*/ 316 h 324"/>
                <a:gd name="T6" fmla="*/ 13 w 254"/>
                <a:gd name="T7" fmla="*/ 292 h 324"/>
                <a:gd name="T8" fmla="*/ 38 w 254"/>
                <a:gd name="T9" fmla="*/ 314 h 324"/>
                <a:gd name="T10" fmla="*/ 3 w 254"/>
                <a:gd name="T11" fmla="*/ 279 h 324"/>
                <a:gd name="T12" fmla="*/ 5 w 254"/>
                <a:gd name="T13" fmla="*/ 248 h 324"/>
                <a:gd name="T14" fmla="*/ 10 w 254"/>
                <a:gd name="T15" fmla="*/ 277 h 324"/>
                <a:gd name="T16" fmla="*/ 9 w 254"/>
                <a:gd name="T17" fmla="*/ 238 h 324"/>
                <a:gd name="T18" fmla="*/ 16 w 254"/>
                <a:gd name="T19" fmla="*/ 216 h 324"/>
                <a:gd name="T20" fmla="*/ 27 w 254"/>
                <a:gd name="T21" fmla="*/ 215 h 324"/>
                <a:gd name="T22" fmla="*/ 9 w 254"/>
                <a:gd name="T23" fmla="*/ 238 h 324"/>
                <a:gd name="T24" fmla="*/ 38 w 254"/>
                <a:gd name="T25" fmla="*/ 199 h 324"/>
                <a:gd name="T26" fmla="*/ 66 w 254"/>
                <a:gd name="T27" fmla="*/ 198 h 324"/>
                <a:gd name="T28" fmla="*/ 174 w 254"/>
                <a:gd name="T29" fmla="*/ 202 h 324"/>
                <a:gd name="T30" fmla="*/ 199 w 254"/>
                <a:gd name="T31" fmla="*/ 190 h 324"/>
                <a:gd name="T32" fmla="*/ 174 w 254"/>
                <a:gd name="T33" fmla="*/ 202 h 324"/>
                <a:gd name="T34" fmla="*/ 129 w 254"/>
                <a:gd name="T35" fmla="*/ 199 h 324"/>
                <a:gd name="T36" fmla="*/ 156 w 254"/>
                <a:gd name="T37" fmla="*/ 194 h 324"/>
                <a:gd name="T38" fmla="*/ 110 w 254"/>
                <a:gd name="T39" fmla="*/ 197 h 324"/>
                <a:gd name="T40" fmla="*/ 87 w 254"/>
                <a:gd name="T41" fmla="*/ 196 h 324"/>
                <a:gd name="T42" fmla="*/ 84 w 254"/>
                <a:gd name="T43" fmla="*/ 189 h 324"/>
                <a:gd name="T44" fmla="*/ 111 w 254"/>
                <a:gd name="T45" fmla="*/ 190 h 324"/>
                <a:gd name="T46" fmla="*/ 218 w 254"/>
                <a:gd name="T47" fmla="*/ 190 h 324"/>
                <a:gd name="T48" fmla="*/ 229 w 254"/>
                <a:gd name="T49" fmla="*/ 173 h 324"/>
                <a:gd name="T50" fmla="*/ 241 w 254"/>
                <a:gd name="T51" fmla="*/ 172 h 324"/>
                <a:gd name="T52" fmla="*/ 218 w 254"/>
                <a:gd name="T53" fmla="*/ 190 h 324"/>
                <a:gd name="T54" fmla="*/ 243 w 254"/>
                <a:gd name="T55" fmla="*/ 152 h 324"/>
                <a:gd name="T56" fmla="*/ 250 w 254"/>
                <a:gd name="T57" fmla="*/ 123 h 324"/>
                <a:gd name="T58" fmla="*/ 250 w 254"/>
                <a:gd name="T59" fmla="*/ 154 h 324"/>
                <a:gd name="T60" fmla="*/ 145 w 254"/>
                <a:gd name="T61" fmla="*/ 135 h 324"/>
                <a:gd name="T62" fmla="*/ 128 w 254"/>
                <a:gd name="T63" fmla="*/ 119 h 324"/>
                <a:gd name="T64" fmla="*/ 152 w 254"/>
                <a:gd name="T65" fmla="*/ 131 h 324"/>
                <a:gd name="T66" fmla="*/ 166 w 254"/>
                <a:gd name="T67" fmla="*/ 129 h 324"/>
                <a:gd name="T68" fmla="*/ 172 w 254"/>
                <a:gd name="T69" fmla="*/ 117 h 324"/>
                <a:gd name="T70" fmla="*/ 188 w 254"/>
                <a:gd name="T71" fmla="*/ 110 h 324"/>
                <a:gd name="T72" fmla="*/ 166 w 254"/>
                <a:gd name="T73" fmla="*/ 129 h 324"/>
                <a:gd name="T74" fmla="*/ 232 w 254"/>
                <a:gd name="T75" fmla="*/ 88 h 324"/>
                <a:gd name="T76" fmla="*/ 251 w 254"/>
                <a:gd name="T77" fmla="*/ 108 h 324"/>
                <a:gd name="T78" fmla="*/ 122 w 254"/>
                <a:gd name="T79" fmla="*/ 107 h 324"/>
                <a:gd name="T80" fmla="*/ 129 w 254"/>
                <a:gd name="T81" fmla="*/ 83 h 324"/>
                <a:gd name="T82" fmla="*/ 139 w 254"/>
                <a:gd name="T83" fmla="*/ 84 h 324"/>
                <a:gd name="T84" fmla="*/ 122 w 254"/>
                <a:gd name="T85" fmla="*/ 107 h 324"/>
                <a:gd name="T86" fmla="*/ 190 w 254"/>
                <a:gd name="T87" fmla="*/ 90 h 324"/>
                <a:gd name="T88" fmla="*/ 192 w 254"/>
                <a:gd name="T89" fmla="*/ 64 h 324"/>
                <a:gd name="T90" fmla="*/ 224 w 254"/>
                <a:gd name="T91" fmla="*/ 75 h 324"/>
                <a:gd name="T92" fmla="*/ 197 w 254"/>
                <a:gd name="T93" fmla="*/ 92 h 324"/>
                <a:gd name="T94" fmla="*/ 148 w 254"/>
                <a:gd name="T95" fmla="*/ 73 h 324"/>
                <a:gd name="T96" fmla="*/ 181 w 254"/>
                <a:gd name="T97" fmla="*/ 64 h 324"/>
                <a:gd name="T98" fmla="*/ 152 w 254"/>
                <a:gd name="T99" fmla="*/ 75 h 324"/>
                <a:gd name="T100" fmla="*/ 176 w 254"/>
                <a:gd name="T101" fmla="*/ 27 h 324"/>
                <a:gd name="T102" fmla="*/ 197 w 254"/>
                <a:gd name="T103" fmla="*/ 45 h 324"/>
                <a:gd name="T104" fmla="*/ 164 w 254"/>
                <a:gd name="T105" fmla="*/ 16 h 324"/>
                <a:gd name="T106" fmla="*/ 136 w 254"/>
                <a:gd name="T107" fmla="*/ 4 h 324"/>
                <a:gd name="T108" fmla="*/ 168 w 254"/>
                <a:gd name="T109" fmla="*/ 15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4" h="324">
                  <a:moveTo>
                    <a:pt x="67" y="324"/>
                  </a:moveTo>
                  <a:cubicBezTo>
                    <a:pt x="62" y="324"/>
                    <a:pt x="57" y="324"/>
                    <a:pt x="52" y="323"/>
                  </a:cubicBezTo>
                  <a:cubicBezTo>
                    <a:pt x="50" y="322"/>
                    <a:pt x="48" y="320"/>
                    <a:pt x="49" y="318"/>
                  </a:cubicBezTo>
                  <a:cubicBezTo>
                    <a:pt x="49" y="316"/>
                    <a:pt x="51" y="315"/>
                    <a:pt x="53" y="315"/>
                  </a:cubicBezTo>
                  <a:cubicBezTo>
                    <a:pt x="59" y="317"/>
                    <a:pt x="64" y="317"/>
                    <a:pt x="70" y="317"/>
                  </a:cubicBezTo>
                  <a:cubicBezTo>
                    <a:pt x="72" y="317"/>
                    <a:pt x="74" y="318"/>
                    <a:pt x="74" y="320"/>
                  </a:cubicBezTo>
                  <a:cubicBezTo>
                    <a:pt x="74" y="323"/>
                    <a:pt x="72" y="324"/>
                    <a:pt x="70" y="324"/>
                  </a:cubicBezTo>
                  <a:cubicBezTo>
                    <a:pt x="69" y="324"/>
                    <a:pt x="68" y="324"/>
                    <a:pt x="67" y="324"/>
                  </a:cubicBezTo>
                  <a:close/>
                  <a:moveTo>
                    <a:pt x="35" y="316"/>
                  </a:moveTo>
                  <a:cubicBezTo>
                    <a:pt x="34" y="316"/>
                    <a:pt x="34" y="316"/>
                    <a:pt x="33" y="315"/>
                  </a:cubicBezTo>
                  <a:cubicBezTo>
                    <a:pt x="25" y="311"/>
                    <a:pt x="18" y="304"/>
                    <a:pt x="12" y="297"/>
                  </a:cubicBezTo>
                  <a:cubicBezTo>
                    <a:pt x="11" y="295"/>
                    <a:pt x="11" y="293"/>
                    <a:pt x="13" y="292"/>
                  </a:cubicBezTo>
                  <a:cubicBezTo>
                    <a:pt x="15" y="291"/>
                    <a:pt x="17" y="291"/>
                    <a:pt x="18" y="293"/>
                  </a:cubicBezTo>
                  <a:cubicBezTo>
                    <a:pt x="23" y="299"/>
                    <a:pt x="30" y="305"/>
                    <a:pt x="37" y="309"/>
                  </a:cubicBezTo>
                  <a:cubicBezTo>
                    <a:pt x="39" y="310"/>
                    <a:pt x="39" y="312"/>
                    <a:pt x="38" y="314"/>
                  </a:cubicBezTo>
                  <a:cubicBezTo>
                    <a:pt x="38" y="315"/>
                    <a:pt x="36" y="316"/>
                    <a:pt x="35" y="316"/>
                  </a:cubicBezTo>
                  <a:close/>
                  <a:moveTo>
                    <a:pt x="7" y="282"/>
                  </a:moveTo>
                  <a:cubicBezTo>
                    <a:pt x="5" y="282"/>
                    <a:pt x="4" y="281"/>
                    <a:pt x="3" y="279"/>
                  </a:cubicBezTo>
                  <a:cubicBezTo>
                    <a:pt x="1" y="273"/>
                    <a:pt x="0" y="266"/>
                    <a:pt x="0" y="259"/>
                  </a:cubicBezTo>
                  <a:cubicBezTo>
                    <a:pt x="0" y="257"/>
                    <a:pt x="0" y="254"/>
                    <a:pt x="0" y="252"/>
                  </a:cubicBezTo>
                  <a:cubicBezTo>
                    <a:pt x="1" y="250"/>
                    <a:pt x="3" y="248"/>
                    <a:pt x="5" y="248"/>
                  </a:cubicBezTo>
                  <a:cubicBezTo>
                    <a:pt x="7" y="248"/>
                    <a:pt x="8" y="250"/>
                    <a:pt x="8" y="252"/>
                  </a:cubicBezTo>
                  <a:cubicBezTo>
                    <a:pt x="8" y="255"/>
                    <a:pt x="8" y="257"/>
                    <a:pt x="8" y="259"/>
                  </a:cubicBezTo>
                  <a:cubicBezTo>
                    <a:pt x="8" y="265"/>
                    <a:pt x="9" y="271"/>
                    <a:pt x="10" y="277"/>
                  </a:cubicBezTo>
                  <a:cubicBezTo>
                    <a:pt x="11" y="279"/>
                    <a:pt x="10" y="281"/>
                    <a:pt x="8" y="282"/>
                  </a:cubicBezTo>
                  <a:cubicBezTo>
                    <a:pt x="8" y="282"/>
                    <a:pt x="7" y="282"/>
                    <a:pt x="7" y="282"/>
                  </a:cubicBezTo>
                  <a:close/>
                  <a:moveTo>
                    <a:pt x="9" y="238"/>
                  </a:moveTo>
                  <a:cubicBezTo>
                    <a:pt x="8" y="238"/>
                    <a:pt x="8" y="238"/>
                    <a:pt x="7" y="237"/>
                  </a:cubicBezTo>
                  <a:cubicBezTo>
                    <a:pt x="6" y="236"/>
                    <a:pt x="5" y="234"/>
                    <a:pt x="5" y="232"/>
                  </a:cubicBezTo>
                  <a:cubicBezTo>
                    <a:pt x="8" y="226"/>
                    <a:pt x="12" y="220"/>
                    <a:pt x="16" y="216"/>
                  </a:cubicBezTo>
                  <a:cubicBezTo>
                    <a:pt x="18" y="214"/>
                    <a:pt x="20" y="212"/>
                    <a:pt x="22" y="210"/>
                  </a:cubicBezTo>
                  <a:cubicBezTo>
                    <a:pt x="23" y="208"/>
                    <a:pt x="26" y="209"/>
                    <a:pt x="27" y="210"/>
                  </a:cubicBezTo>
                  <a:cubicBezTo>
                    <a:pt x="28" y="212"/>
                    <a:pt x="28" y="214"/>
                    <a:pt x="27" y="215"/>
                  </a:cubicBezTo>
                  <a:cubicBezTo>
                    <a:pt x="25" y="217"/>
                    <a:pt x="23" y="219"/>
                    <a:pt x="22" y="221"/>
                  </a:cubicBezTo>
                  <a:cubicBezTo>
                    <a:pt x="18" y="225"/>
                    <a:pt x="15" y="230"/>
                    <a:pt x="12" y="235"/>
                  </a:cubicBezTo>
                  <a:cubicBezTo>
                    <a:pt x="12" y="237"/>
                    <a:pt x="10" y="238"/>
                    <a:pt x="9" y="238"/>
                  </a:cubicBezTo>
                  <a:close/>
                  <a:moveTo>
                    <a:pt x="40" y="206"/>
                  </a:moveTo>
                  <a:cubicBezTo>
                    <a:pt x="39" y="206"/>
                    <a:pt x="37" y="205"/>
                    <a:pt x="37" y="204"/>
                  </a:cubicBezTo>
                  <a:cubicBezTo>
                    <a:pt x="36" y="202"/>
                    <a:pt x="36" y="200"/>
                    <a:pt x="38" y="199"/>
                  </a:cubicBezTo>
                  <a:cubicBezTo>
                    <a:pt x="46" y="195"/>
                    <a:pt x="55" y="192"/>
                    <a:pt x="64" y="191"/>
                  </a:cubicBezTo>
                  <a:cubicBezTo>
                    <a:pt x="67" y="190"/>
                    <a:pt x="68" y="192"/>
                    <a:pt x="69" y="194"/>
                  </a:cubicBezTo>
                  <a:cubicBezTo>
                    <a:pt x="69" y="196"/>
                    <a:pt x="68" y="198"/>
                    <a:pt x="66" y="198"/>
                  </a:cubicBezTo>
                  <a:cubicBezTo>
                    <a:pt x="57" y="200"/>
                    <a:pt x="49" y="202"/>
                    <a:pt x="42" y="206"/>
                  </a:cubicBezTo>
                  <a:cubicBezTo>
                    <a:pt x="41" y="206"/>
                    <a:pt x="41" y="206"/>
                    <a:pt x="40" y="206"/>
                  </a:cubicBezTo>
                  <a:close/>
                  <a:moveTo>
                    <a:pt x="174" y="202"/>
                  </a:moveTo>
                  <a:cubicBezTo>
                    <a:pt x="172" y="202"/>
                    <a:pt x="171" y="200"/>
                    <a:pt x="170" y="198"/>
                  </a:cubicBezTo>
                  <a:cubicBezTo>
                    <a:pt x="170" y="196"/>
                    <a:pt x="172" y="194"/>
                    <a:pt x="174" y="194"/>
                  </a:cubicBezTo>
                  <a:cubicBezTo>
                    <a:pt x="183" y="193"/>
                    <a:pt x="192" y="192"/>
                    <a:pt x="199" y="190"/>
                  </a:cubicBezTo>
                  <a:cubicBezTo>
                    <a:pt x="201" y="189"/>
                    <a:pt x="203" y="191"/>
                    <a:pt x="204" y="193"/>
                  </a:cubicBezTo>
                  <a:cubicBezTo>
                    <a:pt x="204" y="195"/>
                    <a:pt x="203" y="197"/>
                    <a:pt x="201" y="197"/>
                  </a:cubicBezTo>
                  <a:cubicBezTo>
                    <a:pt x="193" y="200"/>
                    <a:pt x="184" y="201"/>
                    <a:pt x="174" y="202"/>
                  </a:cubicBezTo>
                  <a:close/>
                  <a:moveTo>
                    <a:pt x="155" y="202"/>
                  </a:moveTo>
                  <a:cubicBezTo>
                    <a:pt x="155" y="202"/>
                    <a:pt x="155" y="202"/>
                    <a:pt x="155" y="202"/>
                  </a:cubicBezTo>
                  <a:cubicBezTo>
                    <a:pt x="146" y="201"/>
                    <a:pt x="138" y="200"/>
                    <a:pt x="129" y="199"/>
                  </a:cubicBezTo>
                  <a:cubicBezTo>
                    <a:pt x="127" y="199"/>
                    <a:pt x="125" y="197"/>
                    <a:pt x="125" y="195"/>
                  </a:cubicBezTo>
                  <a:cubicBezTo>
                    <a:pt x="125" y="193"/>
                    <a:pt x="127" y="191"/>
                    <a:pt x="129" y="192"/>
                  </a:cubicBezTo>
                  <a:cubicBezTo>
                    <a:pt x="139" y="193"/>
                    <a:pt x="147" y="194"/>
                    <a:pt x="156" y="194"/>
                  </a:cubicBezTo>
                  <a:cubicBezTo>
                    <a:pt x="158" y="194"/>
                    <a:pt x="159" y="196"/>
                    <a:pt x="159" y="198"/>
                  </a:cubicBezTo>
                  <a:cubicBezTo>
                    <a:pt x="159" y="200"/>
                    <a:pt x="157" y="202"/>
                    <a:pt x="155" y="202"/>
                  </a:cubicBezTo>
                  <a:close/>
                  <a:moveTo>
                    <a:pt x="110" y="197"/>
                  </a:moveTo>
                  <a:cubicBezTo>
                    <a:pt x="110" y="197"/>
                    <a:pt x="110" y="197"/>
                    <a:pt x="110" y="197"/>
                  </a:cubicBezTo>
                  <a:cubicBezTo>
                    <a:pt x="102" y="197"/>
                    <a:pt x="95" y="196"/>
                    <a:pt x="89" y="196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6" y="196"/>
                    <a:pt x="85" y="196"/>
                    <a:pt x="84" y="196"/>
                  </a:cubicBezTo>
                  <a:cubicBezTo>
                    <a:pt x="82" y="196"/>
                    <a:pt x="80" y="195"/>
                    <a:pt x="80" y="193"/>
                  </a:cubicBezTo>
                  <a:cubicBezTo>
                    <a:pt x="80" y="191"/>
                    <a:pt x="82" y="189"/>
                    <a:pt x="84" y="189"/>
                  </a:cubicBezTo>
                  <a:cubicBezTo>
                    <a:pt x="85" y="189"/>
                    <a:pt x="86" y="189"/>
                    <a:pt x="87" y="189"/>
                  </a:cubicBezTo>
                  <a:cubicBezTo>
                    <a:pt x="89" y="189"/>
                    <a:pt x="89" y="189"/>
                    <a:pt x="89" y="189"/>
                  </a:cubicBezTo>
                  <a:cubicBezTo>
                    <a:pt x="95" y="189"/>
                    <a:pt x="102" y="189"/>
                    <a:pt x="111" y="190"/>
                  </a:cubicBezTo>
                  <a:cubicBezTo>
                    <a:pt x="113" y="190"/>
                    <a:pt x="114" y="192"/>
                    <a:pt x="114" y="194"/>
                  </a:cubicBezTo>
                  <a:cubicBezTo>
                    <a:pt x="114" y="196"/>
                    <a:pt x="112" y="197"/>
                    <a:pt x="110" y="197"/>
                  </a:cubicBezTo>
                  <a:close/>
                  <a:moveTo>
                    <a:pt x="218" y="190"/>
                  </a:moveTo>
                  <a:cubicBezTo>
                    <a:pt x="216" y="190"/>
                    <a:pt x="215" y="190"/>
                    <a:pt x="214" y="188"/>
                  </a:cubicBezTo>
                  <a:cubicBezTo>
                    <a:pt x="213" y="187"/>
                    <a:pt x="214" y="184"/>
                    <a:pt x="216" y="183"/>
                  </a:cubicBezTo>
                  <a:cubicBezTo>
                    <a:pt x="221" y="181"/>
                    <a:pt x="225" y="177"/>
                    <a:pt x="229" y="173"/>
                  </a:cubicBezTo>
                  <a:cubicBezTo>
                    <a:pt x="231" y="172"/>
                    <a:pt x="233" y="170"/>
                    <a:pt x="235" y="167"/>
                  </a:cubicBezTo>
                  <a:cubicBezTo>
                    <a:pt x="236" y="166"/>
                    <a:pt x="238" y="165"/>
                    <a:pt x="240" y="167"/>
                  </a:cubicBezTo>
                  <a:cubicBezTo>
                    <a:pt x="242" y="168"/>
                    <a:pt x="242" y="170"/>
                    <a:pt x="241" y="172"/>
                  </a:cubicBezTo>
                  <a:cubicBezTo>
                    <a:pt x="239" y="174"/>
                    <a:pt x="237" y="177"/>
                    <a:pt x="235" y="179"/>
                  </a:cubicBezTo>
                  <a:cubicBezTo>
                    <a:pt x="230" y="183"/>
                    <a:pt x="225" y="187"/>
                    <a:pt x="219" y="190"/>
                  </a:cubicBezTo>
                  <a:cubicBezTo>
                    <a:pt x="219" y="190"/>
                    <a:pt x="218" y="190"/>
                    <a:pt x="218" y="190"/>
                  </a:cubicBezTo>
                  <a:close/>
                  <a:moveTo>
                    <a:pt x="247" y="157"/>
                  </a:moveTo>
                  <a:cubicBezTo>
                    <a:pt x="246" y="157"/>
                    <a:pt x="246" y="157"/>
                    <a:pt x="245" y="157"/>
                  </a:cubicBezTo>
                  <a:cubicBezTo>
                    <a:pt x="243" y="156"/>
                    <a:pt x="242" y="154"/>
                    <a:pt x="243" y="152"/>
                  </a:cubicBezTo>
                  <a:cubicBezTo>
                    <a:pt x="246" y="145"/>
                    <a:pt x="247" y="138"/>
                    <a:pt x="247" y="130"/>
                  </a:cubicBezTo>
                  <a:cubicBezTo>
                    <a:pt x="247" y="129"/>
                    <a:pt x="247" y="128"/>
                    <a:pt x="247" y="127"/>
                  </a:cubicBezTo>
                  <a:cubicBezTo>
                    <a:pt x="247" y="125"/>
                    <a:pt x="248" y="124"/>
                    <a:pt x="250" y="123"/>
                  </a:cubicBezTo>
                  <a:cubicBezTo>
                    <a:pt x="252" y="123"/>
                    <a:pt x="254" y="125"/>
                    <a:pt x="254" y="127"/>
                  </a:cubicBezTo>
                  <a:cubicBezTo>
                    <a:pt x="254" y="128"/>
                    <a:pt x="254" y="129"/>
                    <a:pt x="254" y="130"/>
                  </a:cubicBezTo>
                  <a:cubicBezTo>
                    <a:pt x="254" y="138"/>
                    <a:pt x="253" y="147"/>
                    <a:pt x="250" y="154"/>
                  </a:cubicBezTo>
                  <a:cubicBezTo>
                    <a:pt x="250" y="156"/>
                    <a:pt x="248" y="157"/>
                    <a:pt x="247" y="157"/>
                  </a:cubicBezTo>
                  <a:close/>
                  <a:moveTo>
                    <a:pt x="147" y="135"/>
                  </a:moveTo>
                  <a:cubicBezTo>
                    <a:pt x="146" y="135"/>
                    <a:pt x="146" y="135"/>
                    <a:pt x="145" y="135"/>
                  </a:cubicBezTo>
                  <a:cubicBezTo>
                    <a:pt x="136" y="135"/>
                    <a:pt x="127" y="130"/>
                    <a:pt x="122" y="123"/>
                  </a:cubicBezTo>
                  <a:cubicBezTo>
                    <a:pt x="121" y="121"/>
                    <a:pt x="121" y="119"/>
                    <a:pt x="123" y="118"/>
                  </a:cubicBezTo>
                  <a:cubicBezTo>
                    <a:pt x="125" y="117"/>
                    <a:pt x="127" y="117"/>
                    <a:pt x="128" y="119"/>
                  </a:cubicBezTo>
                  <a:cubicBezTo>
                    <a:pt x="132" y="124"/>
                    <a:pt x="139" y="127"/>
                    <a:pt x="146" y="128"/>
                  </a:cubicBezTo>
                  <a:cubicBezTo>
                    <a:pt x="146" y="128"/>
                    <a:pt x="147" y="128"/>
                    <a:pt x="148" y="127"/>
                  </a:cubicBezTo>
                  <a:cubicBezTo>
                    <a:pt x="150" y="127"/>
                    <a:pt x="152" y="129"/>
                    <a:pt x="152" y="131"/>
                  </a:cubicBezTo>
                  <a:cubicBezTo>
                    <a:pt x="152" y="133"/>
                    <a:pt x="151" y="135"/>
                    <a:pt x="148" y="135"/>
                  </a:cubicBezTo>
                  <a:cubicBezTo>
                    <a:pt x="148" y="135"/>
                    <a:pt x="147" y="135"/>
                    <a:pt x="147" y="135"/>
                  </a:cubicBezTo>
                  <a:close/>
                  <a:moveTo>
                    <a:pt x="166" y="129"/>
                  </a:moveTo>
                  <a:cubicBezTo>
                    <a:pt x="165" y="129"/>
                    <a:pt x="164" y="129"/>
                    <a:pt x="163" y="128"/>
                  </a:cubicBezTo>
                  <a:cubicBezTo>
                    <a:pt x="162" y="126"/>
                    <a:pt x="162" y="123"/>
                    <a:pt x="164" y="122"/>
                  </a:cubicBezTo>
                  <a:cubicBezTo>
                    <a:pt x="167" y="121"/>
                    <a:pt x="169" y="119"/>
                    <a:pt x="172" y="117"/>
                  </a:cubicBezTo>
                  <a:cubicBezTo>
                    <a:pt x="176" y="114"/>
                    <a:pt x="179" y="110"/>
                    <a:pt x="182" y="106"/>
                  </a:cubicBezTo>
                  <a:cubicBezTo>
                    <a:pt x="183" y="104"/>
                    <a:pt x="186" y="103"/>
                    <a:pt x="187" y="105"/>
                  </a:cubicBezTo>
                  <a:cubicBezTo>
                    <a:pt x="189" y="106"/>
                    <a:pt x="189" y="108"/>
                    <a:pt x="188" y="110"/>
                  </a:cubicBezTo>
                  <a:cubicBezTo>
                    <a:pt x="185" y="115"/>
                    <a:pt x="181" y="119"/>
                    <a:pt x="177" y="123"/>
                  </a:cubicBezTo>
                  <a:cubicBezTo>
                    <a:pt x="174" y="125"/>
                    <a:pt x="171" y="127"/>
                    <a:pt x="168" y="129"/>
                  </a:cubicBezTo>
                  <a:cubicBezTo>
                    <a:pt x="167" y="129"/>
                    <a:pt x="167" y="129"/>
                    <a:pt x="166" y="129"/>
                  </a:cubicBezTo>
                  <a:close/>
                  <a:moveTo>
                    <a:pt x="247" y="112"/>
                  </a:moveTo>
                  <a:cubicBezTo>
                    <a:pt x="246" y="112"/>
                    <a:pt x="244" y="111"/>
                    <a:pt x="244" y="110"/>
                  </a:cubicBezTo>
                  <a:cubicBezTo>
                    <a:pt x="241" y="102"/>
                    <a:pt x="237" y="94"/>
                    <a:pt x="232" y="88"/>
                  </a:cubicBezTo>
                  <a:cubicBezTo>
                    <a:pt x="231" y="86"/>
                    <a:pt x="231" y="84"/>
                    <a:pt x="233" y="83"/>
                  </a:cubicBezTo>
                  <a:cubicBezTo>
                    <a:pt x="234" y="81"/>
                    <a:pt x="237" y="82"/>
                    <a:pt x="238" y="83"/>
                  </a:cubicBezTo>
                  <a:cubicBezTo>
                    <a:pt x="244" y="90"/>
                    <a:pt x="248" y="98"/>
                    <a:pt x="251" y="108"/>
                  </a:cubicBezTo>
                  <a:cubicBezTo>
                    <a:pt x="252" y="110"/>
                    <a:pt x="251" y="112"/>
                    <a:pt x="249" y="112"/>
                  </a:cubicBezTo>
                  <a:cubicBezTo>
                    <a:pt x="248" y="112"/>
                    <a:pt x="248" y="112"/>
                    <a:pt x="247" y="112"/>
                  </a:cubicBezTo>
                  <a:close/>
                  <a:moveTo>
                    <a:pt x="122" y="107"/>
                  </a:moveTo>
                  <a:cubicBezTo>
                    <a:pt x="121" y="107"/>
                    <a:pt x="121" y="107"/>
                    <a:pt x="121" y="107"/>
                  </a:cubicBezTo>
                  <a:cubicBezTo>
                    <a:pt x="119" y="106"/>
                    <a:pt x="118" y="104"/>
                    <a:pt x="118" y="102"/>
                  </a:cubicBezTo>
                  <a:cubicBezTo>
                    <a:pt x="120" y="94"/>
                    <a:pt x="125" y="87"/>
                    <a:pt x="129" y="83"/>
                  </a:cubicBezTo>
                  <a:cubicBezTo>
                    <a:pt x="131" y="81"/>
                    <a:pt x="132" y="80"/>
                    <a:pt x="134" y="78"/>
                  </a:cubicBezTo>
                  <a:cubicBezTo>
                    <a:pt x="135" y="77"/>
                    <a:pt x="138" y="77"/>
                    <a:pt x="139" y="79"/>
                  </a:cubicBezTo>
                  <a:cubicBezTo>
                    <a:pt x="140" y="80"/>
                    <a:pt x="140" y="83"/>
                    <a:pt x="139" y="84"/>
                  </a:cubicBezTo>
                  <a:cubicBezTo>
                    <a:pt x="137" y="85"/>
                    <a:pt x="136" y="86"/>
                    <a:pt x="135" y="88"/>
                  </a:cubicBezTo>
                  <a:cubicBezTo>
                    <a:pt x="130" y="93"/>
                    <a:pt x="127" y="99"/>
                    <a:pt x="125" y="104"/>
                  </a:cubicBezTo>
                  <a:cubicBezTo>
                    <a:pt x="125" y="106"/>
                    <a:pt x="123" y="107"/>
                    <a:pt x="122" y="107"/>
                  </a:cubicBezTo>
                  <a:close/>
                  <a:moveTo>
                    <a:pt x="194" y="95"/>
                  </a:moveTo>
                  <a:cubicBezTo>
                    <a:pt x="193" y="95"/>
                    <a:pt x="193" y="95"/>
                    <a:pt x="192" y="94"/>
                  </a:cubicBezTo>
                  <a:cubicBezTo>
                    <a:pt x="190" y="94"/>
                    <a:pt x="189" y="92"/>
                    <a:pt x="190" y="90"/>
                  </a:cubicBezTo>
                  <a:cubicBezTo>
                    <a:pt x="192" y="83"/>
                    <a:pt x="193" y="76"/>
                    <a:pt x="193" y="69"/>
                  </a:cubicBezTo>
                  <a:cubicBezTo>
                    <a:pt x="193" y="68"/>
                    <a:pt x="193" y="68"/>
                    <a:pt x="193" y="67"/>
                  </a:cubicBezTo>
                  <a:cubicBezTo>
                    <a:pt x="193" y="67"/>
                    <a:pt x="192" y="65"/>
                    <a:pt x="192" y="64"/>
                  </a:cubicBezTo>
                  <a:cubicBezTo>
                    <a:pt x="193" y="62"/>
                    <a:pt x="195" y="61"/>
                    <a:pt x="197" y="61"/>
                  </a:cubicBezTo>
                  <a:cubicBezTo>
                    <a:pt x="206" y="62"/>
                    <a:pt x="215" y="66"/>
                    <a:pt x="223" y="70"/>
                  </a:cubicBezTo>
                  <a:cubicBezTo>
                    <a:pt x="224" y="71"/>
                    <a:pt x="225" y="74"/>
                    <a:pt x="224" y="75"/>
                  </a:cubicBezTo>
                  <a:cubicBezTo>
                    <a:pt x="223" y="77"/>
                    <a:pt x="221" y="78"/>
                    <a:pt x="219" y="77"/>
                  </a:cubicBezTo>
                  <a:cubicBezTo>
                    <a:pt x="213" y="73"/>
                    <a:pt x="207" y="71"/>
                    <a:pt x="201" y="69"/>
                  </a:cubicBezTo>
                  <a:cubicBezTo>
                    <a:pt x="201" y="77"/>
                    <a:pt x="200" y="85"/>
                    <a:pt x="197" y="92"/>
                  </a:cubicBezTo>
                  <a:cubicBezTo>
                    <a:pt x="197" y="94"/>
                    <a:pt x="195" y="95"/>
                    <a:pt x="194" y="95"/>
                  </a:cubicBezTo>
                  <a:close/>
                  <a:moveTo>
                    <a:pt x="152" y="75"/>
                  </a:moveTo>
                  <a:cubicBezTo>
                    <a:pt x="150" y="75"/>
                    <a:pt x="149" y="74"/>
                    <a:pt x="148" y="73"/>
                  </a:cubicBezTo>
                  <a:cubicBezTo>
                    <a:pt x="148" y="71"/>
                    <a:pt x="148" y="68"/>
                    <a:pt x="150" y="68"/>
                  </a:cubicBezTo>
                  <a:cubicBezTo>
                    <a:pt x="159" y="64"/>
                    <a:pt x="167" y="61"/>
                    <a:pt x="177" y="60"/>
                  </a:cubicBezTo>
                  <a:cubicBezTo>
                    <a:pt x="179" y="60"/>
                    <a:pt x="181" y="62"/>
                    <a:pt x="181" y="64"/>
                  </a:cubicBezTo>
                  <a:cubicBezTo>
                    <a:pt x="181" y="66"/>
                    <a:pt x="180" y="68"/>
                    <a:pt x="178" y="68"/>
                  </a:cubicBezTo>
                  <a:cubicBezTo>
                    <a:pt x="169" y="69"/>
                    <a:pt x="161" y="71"/>
                    <a:pt x="153" y="74"/>
                  </a:cubicBezTo>
                  <a:cubicBezTo>
                    <a:pt x="153" y="75"/>
                    <a:pt x="152" y="75"/>
                    <a:pt x="152" y="75"/>
                  </a:cubicBezTo>
                  <a:close/>
                  <a:moveTo>
                    <a:pt x="193" y="50"/>
                  </a:moveTo>
                  <a:cubicBezTo>
                    <a:pt x="192" y="50"/>
                    <a:pt x="190" y="49"/>
                    <a:pt x="190" y="48"/>
                  </a:cubicBezTo>
                  <a:cubicBezTo>
                    <a:pt x="187" y="40"/>
                    <a:pt x="182" y="33"/>
                    <a:pt x="176" y="27"/>
                  </a:cubicBezTo>
                  <a:cubicBezTo>
                    <a:pt x="175" y="25"/>
                    <a:pt x="175" y="23"/>
                    <a:pt x="176" y="22"/>
                  </a:cubicBezTo>
                  <a:cubicBezTo>
                    <a:pt x="178" y="20"/>
                    <a:pt x="180" y="20"/>
                    <a:pt x="182" y="22"/>
                  </a:cubicBezTo>
                  <a:cubicBezTo>
                    <a:pt x="188" y="29"/>
                    <a:pt x="193" y="37"/>
                    <a:pt x="197" y="45"/>
                  </a:cubicBezTo>
                  <a:cubicBezTo>
                    <a:pt x="197" y="47"/>
                    <a:pt x="196" y="49"/>
                    <a:pt x="195" y="50"/>
                  </a:cubicBezTo>
                  <a:cubicBezTo>
                    <a:pt x="194" y="50"/>
                    <a:pt x="194" y="50"/>
                    <a:pt x="193" y="50"/>
                  </a:cubicBezTo>
                  <a:close/>
                  <a:moveTo>
                    <a:pt x="164" y="16"/>
                  </a:moveTo>
                  <a:cubicBezTo>
                    <a:pt x="164" y="16"/>
                    <a:pt x="163" y="16"/>
                    <a:pt x="162" y="16"/>
                  </a:cubicBezTo>
                  <a:cubicBezTo>
                    <a:pt x="155" y="12"/>
                    <a:pt x="147" y="9"/>
                    <a:pt x="139" y="8"/>
                  </a:cubicBezTo>
                  <a:cubicBezTo>
                    <a:pt x="137" y="8"/>
                    <a:pt x="136" y="6"/>
                    <a:pt x="136" y="4"/>
                  </a:cubicBezTo>
                  <a:cubicBezTo>
                    <a:pt x="136" y="2"/>
                    <a:pt x="138" y="0"/>
                    <a:pt x="140" y="0"/>
                  </a:cubicBezTo>
                  <a:cubicBezTo>
                    <a:pt x="149" y="1"/>
                    <a:pt x="158" y="5"/>
                    <a:pt x="166" y="9"/>
                  </a:cubicBezTo>
                  <a:cubicBezTo>
                    <a:pt x="168" y="10"/>
                    <a:pt x="169" y="13"/>
                    <a:pt x="168" y="15"/>
                  </a:cubicBezTo>
                  <a:cubicBezTo>
                    <a:pt x="167" y="16"/>
                    <a:pt x="166" y="16"/>
                    <a:pt x="16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0" name="矩形 9"/>
          <p:cNvSpPr/>
          <p:nvPr/>
        </p:nvSpPr>
        <p:spPr>
          <a:xfrm>
            <a:off x="7291754" y="2463269"/>
            <a:ext cx="416163" cy="2834569"/>
          </a:xfrm>
          <a:prstGeom prst="rect">
            <a:avLst/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ļí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ṡļïḑ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ṡļïḑ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ïd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şḻîḓê"/>
          <p:cNvSpPr>
            <a:spLocks noGrp="1"/>
          </p:cNvSpPr>
          <p:nvPr>
            <p:ph type="ctrTitle"/>
          </p:nvPr>
        </p:nvSpPr>
        <p:spPr>
          <a:xfrm>
            <a:off x="4876800" y="3581400"/>
            <a:ext cx="6642098" cy="996036"/>
          </a:xfrm>
        </p:spPr>
        <p:txBody>
          <a:bodyPr>
            <a:noAutofit/>
          </a:bodyPr>
          <a:lstStyle/>
          <a:p>
            <a:r>
              <a:rPr lang="en-US" altLang="zh-CN" sz="7200" b="1" smtClean="0">
                <a:solidFill>
                  <a:srgbClr val="149CEA"/>
                </a:solidFill>
              </a:rPr>
              <a:t>THANKS</a:t>
            </a:r>
            <a:endParaRPr lang="zh-CN" altLang="en-US" sz="4400" b="1" dirty="0">
              <a:solidFill>
                <a:srgbClr val="149CEA"/>
              </a:solidFill>
            </a:endParaRPr>
          </a:p>
        </p:txBody>
      </p:sp>
      <p:sp>
        <p:nvSpPr>
          <p:cNvPr id="9" name="ïşḻîḓê"/>
          <p:cNvSpPr txBox="1"/>
          <p:nvPr/>
        </p:nvSpPr>
        <p:spPr>
          <a:xfrm>
            <a:off x="4876800" y="2448204"/>
            <a:ext cx="6642098" cy="99603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7300" b="1">
                <a:solidFill>
                  <a:srgbClr val="149CEA"/>
                </a:solidFill>
              </a:rPr>
              <a:t>谢谢大家</a:t>
            </a:r>
            <a:endParaRPr lang="zh-CN" altLang="en-US" sz="7300" b="1" dirty="0">
              <a:solidFill>
                <a:srgbClr val="149CEA"/>
              </a:solidFill>
            </a:endParaRPr>
          </a:p>
        </p:txBody>
      </p:sp>
    </p:spTree>
  </p:cSld>
  <p:clrMapOvr>
    <a:masterClrMapping/>
  </p:clrMapOvr>
  <p:transition spd="slow">
    <p:rand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占位符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kern="100">
                <a:cs typeface="+mn-ea"/>
                <a:sym typeface="+mn-lt"/>
              </a:rPr>
              <a:t>前言</a:t>
            </a:r>
            <a:endParaRPr lang="zh-CN" altLang="en-US" kern="100">
              <a:cs typeface="+mn-ea"/>
              <a:sym typeface="+mn-lt"/>
            </a:endParaRPr>
          </a:p>
        </p:txBody>
      </p:sp>
      <p:grpSp>
        <p:nvGrpSpPr>
          <p:cNvPr id="11" name="íšļîḓe"/>
          <p:cNvGrpSpPr>
            <a:grpSpLocks noChangeAspect="1"/>
          </p:cNvGrpSpPr>
          <p:nvPr/>
        </p:nvGrpSpPr>
        <p:grpSpPr bwMode="auto">
          <a:xfrm>
            <a:off x="4763" y="6242050"/>
            <a:ext cx="12192000" cy="615950"/>
            <a:chOff x="3" y="3932"/>
            <a:chExt cx="7680" cy="388"/>
          </a:xfrm>
        </p:grpSpPr>
        <p:sp>
          <p:nvSpPr>
            <p:cNvPr id="12" name="îṥḷïḋé"/>
            <p:cNvSpPr/>
            <p:nvPr/>
          </p:nvSpPr>
          <p:spPr bwMode="auto">
            <a:xfrm>
              <a:off x="3" y="3932"/>
              <a:ext cx="7680" cy="388"/>
            </a:xfrm>
            <a:prstGeom prst="rect">
              <a:avLst/>
            </a:prstGeom>
            <a:solidFill>
              <a:srgbClr val="149C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/>
            </a:p>
          </p:txBody>
        </p:sp>
        <p:sp>
          <p:nvSpPr>
            <p:cNvPr id="13" name="iś1íḓe"/>
            <p:cNvSpPr/>
            <p:nvPr/>
          </p:nvSpPr>
          <p:spPr bwMode="auto">
            <a:xfrm>
              <a:off x="7608" y="4156"/>
              <a:ext cx="75" cy="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id-ID"/>
            </a:p>
          </p:txBody>
        </p:sp>
        <p:sp>
          <p:nvSpPr>
            <p:cNvPr id="14" name="îṧľïḍê"/>
            <p:cNvSpPr/>
            <p:nvPr/>
          </p:nvSpPr>
          <p:spPr bwMode="auto">
            <a:xfrm>
              <a:off x="223" y="4156"/>
              <a:ext cx="7237" cy="20"/>
            </a:xfrm>
            <a:custGeom>
              <a:avLst/>
              <a:gdLst>
                <a:gd name="T0" fmla="*/ 7089 w 7237"/>
                <a:gd name="T1" fmla="*/ 20 h 20"/>
                <a:gd name="T2" fmla="*/ 7237 w 7237"/>
                <a:gd name="T3" fmla="*/ 0 h 20"/>
                <a:gd name="T4" fmla="*/ 6941 w 7237"/>
                <a:gd name="T5" fmla="*/ 20 h 20"/>
                <a:gd name="T6" fmla="*/ 6793 w 7237"/>
                <a:gd name="T7" fmla="*/ 0 h 20"/>
                <a:gd name="T8" fmla="*/ 6941 w 7237"/>
                <a:gd name="T9" fmla="*/ 20 h 20"/>
                <a:gd name="T10" fmla="*/ 6500 w 7237"/>
                <a:gd name="T11" fmla="*/ 20 h 20"/>
                <a:gd name="T12" fmla="*/ 6648 w 7237"/>
                <a:gd name="T13" fmla="*/ 0 h 20"/>
                <a:gd name="T14" fmla="*/ 6352 w 7237"/>
                <a:gd name="T15" fmla="*/ 20 h 20"/>
                <a:gd name="T16" fmla="*/ 6204 w 7237"/>
                <a:gd name="T17" fmla="*/ 0 h 20"/>
                <a:gd name="T18" fmla="*/ 6352 w 7237"/>
                <a:gd name="T19" fmla="*/ 20 h 20"/>
                <a:gd name="T20" fmla="*/ 5908 w 7237"/>
                <a:gd name="T21" fmla="*/ 20 h 20"/>
                <a:gd name="T22" fmla="*/ 6056 w 7237"/>
                <a:gd name="T23" fmla="*/ 0 h 20"/>
                <a:gd name="T24" fmla="*/ 5760 w 7237"/>
                <a:gd name="T25" fmla="*/ 20 h 20"/>
                <a:gd name="T26" fmla="*/ 5612 w 7237"/>
                <a:gd name="T27" fmla="*/ 0 h 20"/>
                <a:gd name="T28" fmla="*/ 5760 w 7237"/>
                <a:gd name="T29" fmla="*/ 20 h 20"/>
                <a:gd name="T30" fmla="*/ 5317 w 7237"/>
                <a:gd name="T31" fmla="*/ 20 h 20"/>
                <a:gd name="T32" fmla="*/ 5465 w 7237"/>
                <a:gd name="T33" fmla="*/ 0 h 20"/>
                <a:gd name="T34" fmla="*/ 5169 w 7237"/>
                <a:gd name="T35" fmla="*/ 20 h 20"/>
                <a:gd name="T36" fmla="*/ 5021 w 7237"/>
                <a:gd name="T37" fmla="*/ 0 h 20"/>
                <a:gd name="T38" fmla="*/ 5169 w 7237"/>
                <a:gd name="T39" fmla="*/ 20 h 20"/>
                <a:gd name="T40" fmla="*/ 4728 w 7237"/>
                <a:gd name="T41" fmla="*/ 20 h 20"/>
                <a:gd name="T42" fmla="*/ 4876 w 7237"/>
                <a:gd name="T43" fmla="*/ 0 h 20"/>
                <a:gd name="T44" fmla="*/ 4580 w 7237"/>
                <a:gd name="T45" fmla="*/ 20 h 20"/>
                <a:gd name="T46" fmla="*/ 4432 w 7237"/>
                <a:gd name="T47" fmla="*/ 0 h 20"/>
                <a:gd name="T48" fmla="*/ 4580 w 7237"/>
                <a:gd name="T49" fmla="*/ 20 h 20"/>
                <a:gd name="T50" fmla="*/ 4136 w 7237"/>
                <a:gd name="T51" fmla="*/ 20 h 20"/>
                <a:gd name="T52" fmla="*/ 4284 w 7237"/>
                <a:gd name="T53" fmla="*/ 0 h 20"/>
                <a:gd name="T54" fmla="*/ 3988 w 7237"/>
                <a:gd name="T55" fmla="*/ 20 h 20"/>
                <a:gd name="T56" fmla="*/ 3840 w 7237"/>
                <a:gd name="T57" fmla="*/ 0 h 20"/>
                <a:gd name="T58" fmla="*/ 3988 w 7237"/>
                <a:gd name="T59" fmla="*/ 20 h 20"/>
                <a:gd name="T60" fmla="*/ 3545 w 7237"/>
                <a:gd name="T61" fmla="*/ 20 h 20"/>
                <a:gd name="T62" fmla="*/ 3692 w 7237"/>
                <a:gd name="T63" fmla="*/ 0 h 20"/>
                <a:gd name="T64" fmla="*/ 3397 w 7237"/>
                <a:gd name="T65" fmla="*/ 20 h 20"/>
                <a:gd name="T66" fmla="*/ 3252 w 7237"/>
                <a:gd name="T67" fmla="*/ 0 h 20"/>
                <a:gd name="T68" fmla="*/ 3397 w 7237"/>
                <a:gd name="T69" fmla="*/ 20 h 20"/>
                <a:gd name="T70" fmla="*/ 2956 w 7237"/>
                <a:gd name="T71" fmla="*/ 20 h 20"/>
                <a:gd name="T72" fmla="*/ 3104 w 7237"/>
                <a:gd name="T73" fmla="*/ 0 h 20"/>
                <a:gd name="T74" fmla="*/ 2808 w 7237"/>
                <a:gd name="T75" fmla="*/ 20 h 20"/>
                <a:gd name="T76" fmla="*/ 2660 w 7237"/>
                <a:gd name="T77" fmla="*/ 0 h 20"/>
                <a:gd name="T78" fmla="*/ 2808 w 7237"/>
                <a:gd name="T79" fmla="*/ 20 h 20"/>
                <a:gd name="T80" fmla="*/ 2364 w 7237"/>
                <a:gd name="T81" fmla="*/ 20 h 20"/>
                <a:gd name="T82" fmla="*/ 2512 w 7237"/>
                <a:gd name="T83" fmla="*/ 0 h 20"/>
                <a:gd name="T84" fmla="*/ 2216 w 7237"/>
                <a:gd name="T85" fmla="*/ 20 h 20"/>
                <a:gd name="T86" fmla="*/ 2068 w 7237"/>
                <a:gd name="T87" fmla="*/ 0 h 20"/>
                <a:gd name="T88" fmla="*/ 2216 w 7237"/>
                <a:gd name="T89" fmla="*/ 20 h 20"/>
                <a:gd name="T90" fmla="*/ 1772 w 7237"/>
                <a:gd name="T91" fmla="*/ 20 h 20"/>
                <a:gd name="T92" fmla="*/ 1920 w 7237"/>
                <a:gd name="T93" fmla="*/ 0 h 20"/>
                <a:gd name="T94" fmla="*/ 1625 w 7237"/>
                <a:gd name="T95" fmla="*/ 20 h 20"/>
                <a:gd name="T96" fmla="*/ 1480 w 7237"/>
                <a:gd name="T97" fmla="*/ 0 h 20"/>
                <a:gd name="T98" fmla="*/ 1625 w 7237"/>
                <a:gd name="T99" fmla="*/ 20 h 20"/>
                <a:gd name="T100" fmla="*/ 1184 w 7237"/>
                <a:gd name="T101" fmla="*/ 20 h 20"/>
                <a:gd name="T102" fmla="*/ 1332 w 7237"/>
                <a:gd name="T103" fmla="*/ 0 h 20"/>
                <a:gd name="T104" fmla="*/ 1036 w 7237"/>
                <a:gd name="T105" fmla="*/ 20 h 20"/>
                <a:gd name="T106" fmla="*/ 888 w 7237"/>
                <a:gd name="T107" fmla="*/ 0 h 20"/>
                <a:gd name="T108" fmla="*/ 1036 w 7237"/>
                <a:gd name="T109" fmla="*/ 20 h 20"/>
                <a:gd name="T110" fmla="*/ 592 w 7237"/>
                <a:gd name="T111" fmla="*/ 20 h 20"/>
                <a:gd name="T112" fmla="*/ 740 w 7237"/>
                <a:gd name="T113" fmla="*/ 0 h 20"/>
                <a:gd name="T114" fmla="*/ 444 w 7237"/>
                <a:gd name="T115" fmla="*/ 20 h 20"/>
                <a:gd name="T116" fmla="*/ 296 w 7237"/>
                <a:gd name="T117" fmla="*/ 0 h 20"/>
                <a:gd name="T118" fmla="*/ 444 w 7237"/>
                <a:gd name="T119" fmla="*/ 20 h 20"/>
                <a:gd name="T120" fmla="*/ 0 w 7237"/>
                <a:gd name="T121" fmla="*/ 20 h 20"/>
                <a:gd name="T122" fmla="*/ 148 w 7237"/>
                <a:gd name="T1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37" h="20">
                  <a:moveTo>
                    <a:pt x="7237" y="20"/>
                  </a:moveTo>
                  <a:lnTo>
                    <a:pt x="7089" y="20"/>
                  </a:lnTo>
                  <a:lnTo>
                    <a:pt x="7089" y="0"/>
                  </a:lnTo>
                  <a:lnTo>
                    <a:pt x="7237" y="0"/>
                  </a:lnTo>
                  <a:lnTo>
                    <a:pt x="7237" y="20"/>
                  </a:lnTo>
                  <a:close/>
                  <a:moveTo>
                    <a:pt x="6941" y="20"/>
                  </a:moveTo>
                  <a:lnTo>
                    <a:pt x="6793" y="20"/>
                  </a:lnTo>
                  <a:lnTo>
                    <a:pt x="6793" y="0"/>
                  </a:lnTo>
                  <a:lnTo>
                    <a:pt x="6941" y="0"/>
                  </a:lnTo>
                  <a:lnTo>
                    <a:pt x="6941" y="20"/>
                  </a:lnTo>
                  <a:close/>
                  <a:moveTo>
                    <a:pt x="6648" y="20"/>
                  </a:moveTo>
                  <a:lnTo>
                    <a:pt x="6500" y="20"/>
                  </a:lnTo>
                  <a:lnTo>
                    <a:pt x="6500" y="0"/>
                  </a:lnTo>
                  <a:lnTo>
                    <a:pt x="6648" y="0"/>
                  </a:lnTo>
                  <a:lnTo>
                    <a:pt x="6648" y="20"/>
                  </a:lnTo>
                  <a:close/>
                  <a:moveTo>
                    <a:pt x="6352" y="20"/>
                  </a:moveTo>
                  <a:lnTo>
                    <a:pt x="6204" y="20"/>
                  </a:lnTo>
                  <a:lnTo>
                    <a:pt x="6204" y="0"/>
                  </a:lnTo>
                  <a:lnTo>
                    <a:pt x="6352" y="0"/>
                  </a:lnTo>
                  <a:lnTo>
                    <a:pt x="6352" y="20"/>
                  </a:lnTo>
                  <a:close/>
                  <a:moveTo>
                    <a:pt x="6056" y="20"/>
                  </a:moveTo>
                  <a:lnTo>
                    <a:pt x="5908" y="20"/>
                  </a:lnTo>
                  <a:lnTo>
                    <a:pt x="5908" y="0"/>
                  </a:lnTo>
                  <a:lnTo>
                    <a:pt x="6056" y="0"/>
                  </a:lnTo>
                  <a:lnTo>
                    <a:pt x="6056" y="20"/>
                  </a:lnTo>
                  <a:close/>
                  <a:moveTo>
                    <a:pt x="5760" y="20"/>
                  </a:moveTo>
                  <a:lnTo>
                    <a:pt x="5612" y="20"/>
                  </a:lnTo>
                  <a:lnTo>
                    <a:pt x="5612" y="0"/>
                  </a:lnTo>
                  <a:lnTo>
                    <a:pt x="5760" y="0"/>
                  </a:lnTo>
                  <a:lnTo>
                    <a:pt x="5760" y="20"/>
                  </a:lnTo>
                  <a:close/>
                  <a:moveTo>
                    <a:pt x="5465" y="20"/>
                  </a:moveTo>
                  <a:lnTo>
                    <a:pt x="5317" y="20"/>
                  </a:lnTo>
                  <a:lnTo>
                    <a:pt x="5317" y="0"/>
                  </a:lnTo>
                  <a:lnTo>
                    <a:pt x="5465" y="0"/>
                  </a:lnTo>
                  <a:lnTo>
                    <a:pt x="5465" y="20"/>
                  </a:lnTo>
                  <a:close/>
                  <a:moveTo>
                    <a:pt x="5169" y="20"/>
                  </a:moveTo>
                  <a:lnTo>
                    <a:pt x="5021" y="20"/>
                  </a:lnTo>
                  <a:lnTo>
                    <a:pt x="5021" y="0"/>
                  </a:lnTo>
                  <a:lnTo>
                    <a:pt x="5169" y="0"/>
                  </a:lnTo>
                  <a:lnTo>
                    <a:pt x="5169" y="20"/>
                  </a:lnTo>
                  <a:close/>
                  <a:moveTo>
                    <a:pt x="4876" y="20"/>
                  </a:moveTo>
                  <a:lnTo>
                    <a:pt x="4728" y="20"/>
                  </a:lnTo>
                  <a:lnTo>
                    <a:pt x="4728" y="0"/>
                  </a:lnTo>
                  <a:lnTo>
                    <a:pt x="4876" y="0"/>
                  </a:lnTo>
                  <a:lnTo>
                    <a:pt x="4876" y="20"/>
                  </a:lnTo>
                  <a:close/>
                  <a:moveTo>
                    <a:pt x="4580" y="20"/>
                  </a:moveTo>
                  <a:lnTo>
                    <a:pt x="4432" y="20"/>
                  </a:lnTo>
                  <a:lnTo>
                    <a:pt x="4432" y="0"/>
                  </a:lnTo>
                  <a:lnTo>
                    <a:pt x="4580" y="0"/>
                  </a:lnTo>
                  <a:lnTo>
                    <a:pt x="4580" y="20"/>
                  </a:lnTo>
                  <a:close/>
                  <a:moveTo>
                    <a:pt x="4284" y="20"/>
                  </a:moveTo>
                  <a:lnTo>
                    <a:pt x="4136" y="20"/>
                  </a:lnTo>
                  <a:lnTo>
                    <a:pt x="4136" y="0"/>
                  </a:lnTo>
                  <a:lnTo>
                    <a:pt x="4284" y="0"/>
                  </a:lnTo>
                  <a:lnTo>
                    <a:pt x="4284" y="20"/>
                  </a:lnTo>
                  <a:close/>
                  <a:moveTo>
                    <a:pt x="3988" y="20"/>
                  </a:moveTo>
                  <a:lnTo>
                    <a:pt x="3840" y="20"/>
                  </a:lnTo>
                  <a:lnTo>
                    <a:pt x="3840" y="0"/>
                  </a:lnTo>
                  <a:lnTo>
                    <a:pt x="3988" y="0"/>
                  </a:lnTo>
                  <a:lnTo>
                    <a:pt x="3988" y="20"/>
                  </a:lnTo>
                  <a:close/>
                  <a:moveTo>
                    <a:pt x="3692" y="20"/>
                  </a:moveTo>
                  <a:lnTo>
                    <a:pt x="3545" y="20"/>
                  </a:lnTo>
                  <a:lnTo>
                    <a:pt x="3545" y="0"/>
                  </a:lnTo>
                  <a:lnTo>
                    <a:pt x="3692" y="0"/>
                  </a:lnTo>
                  <a:lnTo>
                    <a:pt x="3692" y="20"/>
                  </a:lnTo>
                  <a:close/>
                  <a:moveTo>
                    <a:pt x="3397" y="20"/>
                  </a:moveTo>
                  <a:lnTo>
                    <a:pt x="3252" y="20"/>
                  </a:lnTo>
                  <a:lnTo>
                    <a:pt x="3252" y="0"/>
                  </a:lnTo>
                  <a:lnTo>
                    <a:pt x="3397" y="0"/>
                  </a:lnTo>
                  <a:lnTo>
                    <a:pt x="3397" y="20"/>
                  </a:lnTo>
                  <a:close/>
                  <a:moveTo>
                    <a:pt x="3104" y="20"/>
                  </a:moveTo>
                  <a:lnTo>
                    <a:pt x="2956" y="20"/>
                  </a:lnTo>
                  <a:lnTo>
                    <a:pt x="2956" y="0"/>
                  </a:lnTo>
                  <a:lnTo>
                    <a:pt x="3104" y="0"/>
                  </a:lnTo>
                  <a:lnTo>
                    <a:pt x="3104" y="20"/>
                  </a:lnTo>
                  <a:close/>
                  <a:moveTo>
                    <a:pt x="2808" y="20"/>
                  </a:moveTo>
                  <a:lnTo>
                    <a:pt x="2660" y="20"/>
                  </a:lnTo>
                  <a:lnTo>
                    <a:pt x="2660" y="0"/>
                  </a:lnTo>
                  <a:lnTo>
                    <a:pt x="2808" y="0"/>
                  </a:lnTo>
                  <a:lnTo>
                    <a:pt x="2808" y="20"/>
                  </a:lnTo>
                  <a:close/>
                  <a:moveTo>
                    <a:pt x="2512" y="20"/>
                  </a:moveTo>
                  <a:lnTo>
                    <a:pt x="2364" y="20"/>
                  </a:lnTo>
                  <a:lnTo>
                    <a:pt x="2364" y="0"/>
                  </a:lnTo>
                  <a:lnTo>
                    <a:pt x="2512" y="0"/>
                  </a:lnTo>
                  <a:lnTo>
                    <a:pt x="2512" y="20"/>
                  </a:lnTo>
                  <a:close/>
                  <a:moveTo>
                    <a:pt x="2216" y="20"/>
                  </a:moveTo>
                  <a:lnTo>
                    <a:pt x="2068" y="20"/>
                  </a:lnTo>
                  <a:lnTo>
                    <a:pt x="2068" y="0"/>
                  </a:lnTo>
                  <a:lnTo>
                    <a:pt x="2216" y="0"/>
                  </a:lnTo>
                  <a:lnTo>
                    <a:pt x="2216" y="20"/>
                  </a:lnTo>
                  <a:close/>
                  <a:moveTo>
                    <a:pt x="1920" y="20"/>
                  </a:moveTo>
                  <a:lnTo>
                    <a:pt x="1772" y="20"/>
                  </a:lnTo>
                  <a:lnTo>
                    <a:pt x="1772" y="0"/>
                  </a:lnTo>
                  <a:lnTo>
                    <a:pt x="1920" y="0"/>
                  </a:lnTo>
                  <a:lnTo>
                    <a:pt x="1920" y="20"/>
                  </a:lnTo>
                  <a:close/>
                  <a:moveTo>
                    <a:pt x="1625" y="20"/>
                  </a:moveTo>
                  <a:lnTo>
                    <a:pt x="1480" y="20"/>
                  </a:lnTo>
                  <a:lnTo>
                    <a:pt x="1480" y="0"/>
                  </a:lnTo>
                  <a:lnTo>
                    <a:pt x="1625" y="0"/>
                  </a:lnTo>
                  <a:lnTo>
                    <a:pt x="1625" y="20"/>
                  </a:lnTo>
                  <a:close/>
                  <a:moveTo>
                    <a:pt x="1332" y="20"/>
                  </a:moveTo>
                  <a:lnTo>
                    <a:pt x="1184" y="20"/>
                  </a:lnTo>
                  <a:lnTo>
                    <a:pt x="1184" y="0"/>
                  </a:lnTo>
                  <a:lnTo>
                    <a:pt x="1332" y="0"/>
                  </a:lnTo>
                  <a:lnTo>
                    <a:pt x="1332" y="20"/>
                  </a:lnTo>
                  <a:close/>
                  <a:moveTo>
                    <a:pt x="1036" y="20"/>
                  </a:moveTo>
                  <a:lnTo>
                    <a:pt x="888" y="20"/>
                  </a:lnTo>
                  <a:lnTo>
                    <a:pt x="888" y="0"/>
                  </a:lnTo>
                  <a:lnTo>
                    <a:pt x="1036" y="0"/>
                  </a:lnTo>
                  <a:lnTo>
                    <a:pt x="1036" y="20"/>
                  </a:lnTo>
                  <a:close/>
                  <a:moveTo>
                    <a:pt x="740" y="20"/>
                  </a:moveTo>
                  <a:lnTo>
                    <a:pt x="592" y="20"/>
                  </a:lnTo>
                  <a:lnTo>
                    <a:pt x="592" y="0"/>
                  </a:lnTo>
                  <a:lnTo>
                    <a:pt x="740" y="0"/>
                  </a:lnTo>
                  <a:lnTo>
                    <a:pt x="740" y="20"/>
                  </a:lnTo>
                  <a:close/>
                  <a:moveTo>
                    <a:pt x="444" y="20"/>
                  </a:moveTo>
                  <a:lnTo>
                    <a:pt x="296" y="20"/>
                  </a:lnTo>
                  <a:lnTo>
                    <a:pt x="296" y="0"/>
                  </a:lnTo>
                  <a:lnTo>
                    <a:pt x="444" y="0"/>
                  </a:lnTo>
                  <a:lnTo>
                    <a:pt x="444" y="20"/>
                  </a:lnTo>
                  <a:close/>
                  <a:moveTo>
                    <a:pt x="148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id-ID"/>
            </a:p>
          </p:txBody>
        </p:sp>
        <p:sp>
          <p:nvSpPr>
            <p:cNvPr id="22" name="íṩ1ídê"/>
            <p:cNvSpPr/>
            <p:nvPr/>
          </p:nvSpPr>
          <p:spPr bwMode="auto">
            <a:xfrm>
              <a:off x="3" y="4156"/>
              <a:ext cx="76" cy="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id-ID"/>
            </a:p>
          </p:txBody>
        </p:sp>
      </p:grpSp>
      <p:cxnSp>
        <p:nvCxnSpPr>
          <p:cNvPr id="23" name="直接连接符 22"/>
          <p:cNvCxnSpPr/>
          <p:nvPr/>
        </p:nvCxnSpPr>
        <p:spPr>
          <a:xfrm flipH="1" flipV="1">
            <a:off x="1" y="2184096"/>
            <a:ext cx="12196762" cy="24366"/>
          </a:xfrm>
          <a:prstGeom prst="line">
            <a:avLst/>
          </a:prstGeom>
          <a:ln w="57150" cap="rnd">
            <a:solidFill>
              <a:srgbClr val="149CEA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3016811" y="1764044"/>
            <a:ext cx="878080" cy="880403"/>
            <a:chOff x="3016811" y="1764044"/>
            <a:chExt cx="878080" cy="880403"/>
          </a:xfrm>
        </p:grpSpPr>
        <p:sp>
          <p:nvSpPr>
            <p:cNvPr id="24" name="i$ḻïḓé"/>
            <p:cNvSpPr/>
            <p:nvPr/>
          </p:nvSpPr>
          <p:spPr bwMode="auto">
            <a:xfrm>
              <a:off x="3016811" y="1764044"/>
              <a:ext cx="878080" cy="88040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20A7FA"/>
              </a:solidFill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32" name="îš1ïḍe"/>
            <p:cNvSpPr/>
            <p:nvPr/>
          </p:nvSpPr>
          <p:spPr bwMode="auto">
            <a:xfrm>
              <a:off x="3279996" y="1979480"/>
              <a:ext cx="351710" cy="449530"/>
            </a:xfrm>
            <a:custGeom>
              <a:avLst/>
              <a:gdLst>
                <a:gd name="T0" fmla="*/ 1793 w 3344"/>
                <a:gd name="T1" fmla="*/ 4173 h 4280"/>
                <a:gd name="T2" fmla="*/ 1981 w 3344"/>
                <a:gd name="T3" fmla="*/ 2980 h 4280"/>
                <a:gd name="T4" fmla="*/ 2007 w 3344"/>
                <a:gd name="T5" fmla="*/ 4067 h 4280"/>
                <a:gd name="T6" fmla="*/ 2912 w 3344"/>
                <a:gd name="T7" fmla="*/ 4107 h 4280"/>
                <a:gd name="T8" fmla="*/ 3237 w 3344"/>
                <a:gd name="T9" fmla="*/ 3872 h 4280"/>
                <a:gd name="T10" fmla="*/ 2225 w 3344"/>
                <a:gd name="T11" fmla="*/ 2679 h 4280"/>
                <a:gd name="T12" fmla="*/ 3344 w 3344"/>
                <a:gd name="T13" fmla="*/ 2679 h 4280"/>
                <a:gd name="T14" fmla="*/ 2438 w 3344"/>
                <a:gd name="T15" fmla="*/ 3659 h 4280"/>
                <a:gd name="T16" fmla="*/ 2438 w 3344"/>
                <a:gd name="T17" fmla="*/ 2786 h 4280"/>
                <a:gd name="T18" fmla="*/ 81 w 3344"/>
                <a:gd name="T19" fmla="*/ 3670 h 4280"/>
                <a:gd name="T20" fmla="*/ 767 w 3344"/>
                <a:gd name="T21" fmla="*/ 2001 h 4280"/>
                <a:gd name="T22" fmla="*/ 2844 w 3344"/>
                <a:gd name="T23" fmla="*/ 2244 h 4280"/>
                <a:gd name="T24" fmla="*/ 2219 w 3344"/>
                <a:gd name="T25" fmla="*/ 1967 h 4280"/>
                <a:gd name="T26" fmla="*/ 1625 w 3344"/>
                <a:gd name="T27" fmla="*/ 2545 h 4280"/>
                <a:gd name="T28" fmla="*/ 220 w 3344"/>
                <a:gd name="T29" fmla="*/ 3611 h 4280"/>
                <a:gd name="T30" fmla="*/ 1711 w 3344"/>
                <a:gd name="T31" fmla="*/ 2301 h 4280"/>
                <a:gd name="T32" fmla="*/ 1467 w 3344"/>
                <a:gd name="T33" fmla="*/ 1924 h 4280"/>
                <a:gd name="T34" fmla="*/ 2742 w 3344"/>
                <a:gd name="T35" fmla="*/ 3512 h 4280"/>
                <a:gd name="T36" fmla="*/ 2827 w 3344"/>
                <a:gd name="T37" fmla="*/ 3299 h 4280"/>
                <a:gd name="T38" fmla="*/ 2869 w 3344"/>
                <a:gd name="T39" fmla="*/ 3146 h 4280"/>
                <a:gd name="T40" fmla="*/ 2699 w 3344"/>
                <a:gd name="T41" fmla="*/ 2932 h 4280"/>
                <a:gd name="T42" fmla="*/ 2869 w 3344"/>
                <a:gd name="T43" fmla="*/ 3146 h 4280"/>
                <a:gd name="T44" fmla="*/ 1521 w 3344"/>
                <a:gd name="T45" fmla="*/ 28 h 4280"/>
                <a:gd name="T46" fmla="*/ 1672 w 3344"/>
                <a:gd name="T47" fmla="*/ 2 h 4280"/>
                <a:gd name="T48" fmla="*/ 1698 w 3344"/>
                <a:gd name="T49" fmla="*/ 0 h 4280"/>
                <a:gd name="T50" fmla="*/ 1701 w 3344"/>
                <a:gd name="T51" fmla="*/ 0 h 4280"/>
                <a:gd name="T52" fmla="*/ 1703 w 3344"/>
                <a:gd name="T53" fmla="*/ 0 h 4280"/>
                <a:gd name="T54" fmla="*/ 1705 w 3344"/>
                <a:gd name="T55" fmla="*/ 0 h 4280"/>
                <a:gd name="T56" fmla="*/ 1707 w 3344"/>
                <a:gd name="T57" fmla="*/ 0 h 4280"/>
                <a:gd name="T58" fmla="*/ 1712 w 3344"/>
                <a:gd name="T59" fmla="*/ 0 h 4280"/>
                <a:gd name="T60" fmla="*/ 1713 w 3344"/>
                <a:gd name="T61" fmla="*/ 0 h 4280"/>
                <a:gd name="T62" fmla="*/ 1716 w 3344"/>
                <a:gd name="T63" fmla="*/ 0 h 4280"/>
                <a:gd name="T64" fmla="*/ 1719 w 3344"/>
                <a:gd name="T65" fmla="*/ 0 h 4280"/>
                <a:gd name="T66" fmla="*/ 1720 w 3344"/>
                <a:gd name="T67" fmla="*/ 0 h 4280"/>
                <a:gd name="T68" fmla="*/ 1722 w 3344"/>
                <a:gd name="T69" fmla="*/ 0 h 4280"/>
                <a:gd name="T70" fmla="*/ 2422 w 3344"/>
                <a:gd name="T71" fmla="*/ 629 h 4280"/>
                <a:gd name="T72" fmla="*/ 1476 w 3344"/>
                <a:gd name="T73" fmla="*/ 278 h 4280"/>
                <a:gd name="T74" fmla="*/ 2208 w 3344"/>
                <a:gd name="T75" fmla="*/ 774 h 4280"/>
                <a:gd name="T76" fmla="*/ 1680 w 3344"/>
                <a:gd name="T77" fmla="*/ 215 h 4280"/>
                <a:gd name="T78" fmla="*/ 1723 w 3344"/>
                <a:gd name="T79" fmla="*/ 213 h 4280"/>
                <a:gd name="T80" fmla="*/ 1721 w 3344"/>
                <a:gd name="T81" fmla="*/ 213 h 4280"/>
                <a:gd name="T82" fmla="*/ 1719 w 3344"/>
                <a:gd name="T83" fmla="*/ 213 h 4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44" h="4280">
                  <a:moveTo>
                    <a:pt x="2805" y="4280"/>
                  </a:moveTo>
                  <a:lnTo>
                    <a:pt x="1900" y="4280"/>
                  </a:lnTo>
                  <a:cubicBezTo>
                    <a:pt x="1841" y="4280"/>
                    <a:pt x="1793" y="4232"/>
                    <a:pt x="1793" y="4173"/>
                  </a:cubicBezTo>
                  <a:lnTo>
                    <a:pt x="1793" y="3087"/>
                  </a:lnTo>
                  <a:cubicBezTo>
                    <a:pt x="1793" y="3028"/>
                    <a:pt x="1841" y="2980"/>
                    <a:pt x="1900" y="2980"/>
                  </a:cubicBezTo>
                  <a:lnTo>
                    <a:pt x="1981" y="2980"/>
                  </a:lnTo>
                  <a:cubicBezTo>
                    <a:pt x="2040" y="2980"/>
                    <a:pt x="2088" y="3028"/>
                    <a:pt x="2088" y="3087"/>
                  </a:cubicBezTo>
                  <a:cubicBezTo>
                    <a:pt x="2088" y="3137"/>
                    <a:pt x="2053" y="3179"/>
                    <a:pt x="2007" y="3191"/>
                  </a:cubicBezTo>
                  <a:lnTo>
                    <a:pt x="2007" y="4067"/>
                  </a:lnTo>
                  <a:lnTo>
                    <a:pt x="2706" y="4067"/>
                  </a:lnTo>
                  <a:cubicBezTo>
                    <a:pt x="2722" y="4028"/>
                    <a:pt x="2760" y="4000"/>
                    <a:pt x="2805" y="4000"/>
                  </a:cubicBezTo>
                  <a:cubicBezTo>
                    <a:pt x="2864" y="4000"/>
                    <a:pt x="2912" y="4048"/>
                    <a:pt x="2912" y="4107"/>
                  </a:cubicBezTo>
                  <a:lnTo>
                    <a:pt x="2912" y="4173"/>
                  </a:lnTo>
                  <a:cubicBezTo>
                    <a:pt x="2912" y="4232"/>
                    <a:pt x="2864" y="4280"/>
                    <a:pt x="2805" y="4280"/>
                  </a:cubicBezTo>
                  <a:close/>
                  <a:moveTo>
                    <a:pt x="3237" y="3872"/>
                  </a:moveTo>
                  <a:lnTo>
                    <a:pt x="2332" y="3872"/>
                  </a:lnTo>
                  <a:cubicBezTo>
                    <a:pt x="2273" y="3872"/>
                    <a:pt x="2225" y="3824"/>
                    <a:pt x="2225" y="3765"/>
                  </a:cubicBezTo>
                  <a:lnTo>
                    <a:pt x="2225" y="2679"/>
                  </a:lnTo>
                  <a:cubicBezTo>
                    <a:pt x="2225" y="2620"/>
                    <a:pt x="2273" y="2572"/>
                    <a:pt x="2332" y="2572"/>
                  </a:cubicBezTo>
                  <a:lnTo>
                    <a:pt x="3237" y="2572"/>
                  </a:lnTo>
                  <a:cubicBezTo>
                    <a:pt x="3296" y="2572"/>
                    <a:pt x="3344" y="2620"/>
                    <a:pt x="3344" y="2679"/>
                  </a:cubicBezTo>
                  <a:lnTo>
                    <a:pt x="3344" y="3765"/>
                  </a:lnTo>
                  <a:cubicBezTo>
                    <a:pt x="3344" y="3824"/>
                    <a:pt x="3296" y="3872"/>
                    <a:pt x="3237" y="3872"/>
                  </a:cubicBezTo>
                  <a:close/>
                  <a:moveTo>
                    <a:pt x="2438" y="3659"/>
                  </a:moveTo>
                  <a:lnTo>
                    <a:pt x="3130" y="3659"/>
                  </a:lnTo>
                  <a:lnTo>
                    <a:pt x="3130" y="2786"/>
                  </a:lnTo>
                  <a:lnTo>
                    <a:pt x="2438" y="2786"/>
                  </a:lnTo>
                  <a:lnTo>
                    <a:pt x="2438" y="3659"/>
                  </a:lnTo>
                  <a:close/>
                  <a:moveTo>
                    <a:pt x="121" y="3678"/>
                  </a:moveTo>
                  <a:cubicBezTo>
                    <a:pt x="108" y="3678"/>
                    <a:pt x="94" y="3675"/>
                    <a:pt x="81" y="3670"/>
                  </a:cubicBezTo>
                  <a:cubicBezTo>
                    <a:pt x="27" y="3648"/>
                    <a:pt x="0" y="3586"/>
                    <a:pt x="22" y="3531"/>
                  </a:cubicBezTo>
                  <a:lnTo>
                    <a:pt x="390" y="2625"/>
                  </a:lnTo>
                  <a:cubicBezTo>
                    <a:pt x="504" y="2345"/>
                    <a:pt x="624" y="2147"/>
                    <a:pt x="767" y="2001"/>
                  </a:cubicBezTo>
                  <a:cubicBezTo>
                    <a:pt x="958" y="1809"/>
                    <a:pt x="1193" y="1711"/>
                    <a:pt x="1467" y="1711"/>
                  </a:cubicBezTo>
                  <a:lnTo>
                    <a:pt x="1955" y="1711"/>
                  </a:lnTo>
                  <a:cubicBezTo>
                    <a:pt x="2329" y="1711"/>
                    <a:pt x="2620" y="1885"/>
                    <a:pt x="2844" y="2244"/>
                  </a:cubicBezTo>
                  <a:cubicBezTo>
                    <a:pt x="2875" y="2294"/>
                    <a:pt x="2859" y="2360"/>
                    <a:pt x="2809" y="2391"/>
                  </a:cubicBezTo>
                  <a:cubicBezTo>
                    <a:pt x="2759" y="2422"/>
                    <a:pt x="2694" y="2407"/>
                    <a:pt x="2662" y="2357"/>
                  </a:cubicBezTo>
                  <a:cubicBezTo>
                    <a:pt x="2537" y="2156"/>
                    <a:pt x="2393" y="2028"/>
                    <a:pt x="2219" y="1967"/>
                  </a:cubicBezTo>
                  <a:lnTo>
                    <a:pt x="1797" y="2545"/>
                  </a:lnTo>
                  <a:cubicBezTo>
                    <a:pt x="1777" y="2572"/>
                    <a:pt x="1745" y="2588"/>
                    <a:pt x="1711" y="2588"/>
                  </a:cubicBezTo>
                  <a:cubicBezTo>
                    <a:pt x="1677" y="2588"/>
                    <a:pt x="1645" y="2572"/>
                    <a:pt x="1625" y="2545"/>
                  </a:cubicBezTo>
                  <a:lnTo>
                    <a:pt x="1203" y="1966"/>
                  </a:lnTo>
                  <a:cubicBezTo>
                    <a:pt x="948" y="2055"/>
                    <a:pt x="756" y="2290"/>
                    <a:pt x="588" y="2705"/>
                  </a:cubicBezTo>
                  <a:lnTo>
                    <a:pt x="220" y="3611"/>
                  </a:lnTo>
                  <a:cubicBezTo>
                    <a:pt x="203" y="3653"/>
                    <a:pt x="163" y="3678"/>
                    <a:pt x="121" y="3678"/>
                  </a:cubicBezTo>
                  <a:close/>
                  <a:moveTo>
                    <a:pt x="1437" y="1925"/>
                  </a:moveTo>
                  <a:lnTo>
                    <a:pt x="1711" y="2301"/>
                  </a:lnTo>
                  <a:lnTo>
                    <a:pt x="1986" y="1925"/>
                  </a:lnTo>
                  <a:cubicBezTo>
                    <a:pt x="1976" y="1924"/>
                    <a:pt x="1965" y="1924"/>
                    <a:pt x="1955" y="1924"/>
                  </a:cubicBezTo>
                  <a:lnTo>
                    <a:pt x="1467" y="1924"/>
                  </a:lnTo>
                  <a:cubicBezTo>
                    <a:pt x="1457" y="1924"/>
                    <a:pt x="1447" y="1924"/>
                    <a:pt x="1437" y="1925"/>
                  </a:cubicBezTo>
                  <a:close/>
                  <a:moveTo>
                    <a:pt x="2827" y="3512"/>
                  </a:moveTo>
                  <a:lnTo>
                    <a:pt x="2742" y="3512"/>
                  </a:lnTo>
                  <a:cubicBezTo>
                    <a:pt x="2683" y="3512"/>
                    <a:pt x="2635" y="3465"/>
                    <a:pt x="2635" y="3406"/>
                  </a:cubicBezTo>
                  <a:cubicBezTo>
                    <a:pt x="2635" y="3347"/>
                    <a:pt x="2683" y="3299"/>
                    <a:pt x="2742" y="3299"/>
                  </a:cubicBezTo>
                  <a:lnTo>
                    <a:pt x="2827" y="3299"/>
                  </a:lnTo>
                  <a:cubicBezTo>
                    <a:pt x="2886" y="3299"/>
                    <a:pt x="2933" y="3347"/>
                    <a:pt x="2933" y="3406"/>
                  </a:cubicBezTo>
                  <a:cubicBezTo>
                    <a:pt x="2933" y="3465"/>
                    <a:pt x="2886" y="3512"/>
                    <a:pt x="2827" y="3512"/>
                  </a:cubicBezTo>
                  <a:close/>
                  <a:moveTo>
                    <a:pt x="2869" y="3146"/>
                  </a:moveTo>
                  <a:lnTo>
                    <a:pt x="2699" y="3146"/>
                  </a:lnTo>
                  <a:cubicBezTo>
                    <a:pt x="2640" y="3146"/>
                    <a:pt x="2592" y="3098"/>
                    <a:pt x="2592" y="3039"/>
                  </a:cubicBezTo>
                  <a:cubicBezTo>
                    <a:pt x="2592" y="2980"/>
                    <a:pt x="2640" y="2932"/>
                    <a:pt x="2699" y="2932"/>
                  </a:cubicBezTo>
                  <a:lnTo>
                    <a:pt x="2869" y="2932"/>
                  </a:lnTo>
                  <a:cubicBezTo>
                    <a:pt x="2928" y="2932"/>
                    <a:pt x="2976" y="2980"/>
                    <a:pt x="2976" y="3039"/>
                  </a:cubicBezTo>
                  <a:cubicBezTo>
                    <a:pt x="2976" y="3098"/>
                    <a:pt x="2928" y="3146"/>
                    <a:pt x="2869" y="3146"/>
                  </a:cubicBezTo>
                  <a:close/>
                  <a:moveTo>
                    <a:pt x="1719" y="1413"/>
                  </a:moveTo>
                  <a:cubicBezTo>
                    <a:pt x="1330" y="1413"/>
                    <a:pt x="1013" y="1096"/>
                    <a:pt x="1013" y="707"/>
                  </a:cubicBezTo>
                  <a:cubicBezTo>
                    <a:pt x="1013" y="386"/>
                    <a:pt x="1228" y="114"/>
                    <a:pt x="1521" y="28"/>
                  </a:cubicBezTo>
                  <a:cubicBezTo>
                    <a:pt x="1523" y="28"/>
                    <a:pt x="1524" y="27"/>
                    <a:pt x="1526" y="27"/>
                  </a:cubicBezTo>
                  <a:cubicBezTo>
                    <a:pt x="1573" y="13"/>
                    <a:pt x="1622" y="5"/>
                    <a:pt x="1671" y="2"/>
                  </a:cubicBezTo>
                  <a:cubicBezTo>
                    <a:pt x="1671" y="2"/>
                    <a:pt x="1672" y="2"/>
                    <a:pt x="1672" y="2"/>
                  </a:cubicBezTo>
                  <a:cubicBezTo>
                    <a:pt x="1672" y="2"/>
                    <a:pt x="1672" y="2"/>
                    <a:pt x="1672" y="2"/>
                  </a:cubicBezTo>
                  <a:cubicBezTo>
                    <a:pt x="1673" y="1"/>
                    <a:pt x="1673" y="1"/>
                    <a:pt x="1673" y="1"/>
                  </a:cubicBezTo>
                  <a:cubicBezTo>
                    <a:pt x="1682" y="1"/>
                    <a:pt x="1690" y="1"/>
                    <a:pt x="1698" y="0"/>
                  </a:cubicBezTo>
                  <a:cubicBezTo>
                    <a:pt x="1699" y="0"/>
                    <a:pt x="1699" y="0"/>
                    <a:pt x="1700" y="0"/>
                  </a:cubicBezTo>
                  <a:lnTo>
                    <a:pt x="1700" y="0"/>
                  </a:lnTo>
                  <a:cubicBezTo>
                    <a:pt x="1700" y="0"/>
                    <a:pt x="1700" y="0"/>
                    <a:pt x="1701" y="0"/>
                  </a:cubicBezTo>
                  <a:cubicBezTo>
                    <a:pt x="1701" y="0"/>
                    <a:pt x="1701" y="0"/>
                    <a:pt x="1702" y="0"/>
                  </a:cubicBezTo>
                  <a:cubicBezTo>
                    <a:pt x="1702" y="0"/>
                    <a:pt x="1702" y="0"/>
                    <a:pt x="1702" y="0"/>
                  </a:cubicBezTo>
                  <a:cubicBezTo>
                    <a:pt x="1703" y="0"/>
                    <a:pt x="1703" y="0"/>
                    <a:pt x="1703" y="0"/>
                  </a:cubicBezTo>
                  <a:cubicBezTo>
                    <a:pt x="1703" y="0"/>
                    <a:pt x="1704" y="0"/>
                    <a:pt x="1704" y="0"/>
                  </a:cubicBezTo>
                  <a:cubicBezTo>
                    <a:pt x="1704" y="0"/>
                    <a:pt x="1705" y="0"/>
                    <a:pt x="1705" y="0"/>
                  </a:cubicBezTo>
                  <a:cubicBezTo>
                    <a:pt x="1705" y="0"/>
                    <a:pt x="1705" y="0"/>
                    <a:pt x="1705" y="0"/>
                  </a:cubicBezTo>
                  <a:cubicBezTo>
                    <a:pt x="1706" y="0"/>
                    <a:pt x="1706" y="0"/>
                    <a:pt x="1707" y="0"/>
                  </a:cubicBezTo>
                  <a:lnTo>
                    <a:pt x="1707" y="0"/>
                  </a:lnTo>
                  <a:cubicBezTo>
                    <a:pt x="1707" y="0"/>
                    <a:pt x="1707" y="0"/>
                    <a:pt x="1707" y="0"/>
                  </a:cubicBezTo>
                  <a:cubicBezTo>
                    <a:pt x="1708" y="0"/>
                    <a:pt x="1709" y="0"/>
                    <a:pt x="1709" y="0"/>
                  </a:cubicBezTo>
                  <a:lnTo>
                    <a:pt x="1710" y="0"/>
                  </a:lnTo>
                  <a:cubicBezTo>
                    <a:pt x="1710" y="0"/>
                    <a:pt x="1711" y="0"/>
                    <a:pt x="1712" y="0"/>
                  </a:cubicBezTo>
                  <a:lnTo>
                    <a:pt x="1712" y="0"/>
                  </a:lnTo>
                  <a:cubicBezTo>
                    <a:pt x="1712" y="0"/>
                    <a:pt x="1713" y="0"/>
                    <a:pt x="1713" y="0"/>
                  </a:cubicBezTo>
                  <a:lnTo>
                    <a:pt x="1713" y="0"/>
                  </a:lnTo>
                  <a:cubicBezTo>
                    <a:pt x="1714" y="0"/>
                    <a:pt x="1714" y="0"/>
                    <a:pt x="1714" y="0"/>
                  </a:cubicBezTo>
                  <a:cubicBezTo>
                    <a:pt x="1715" y="0"/>
                    <a:pt x="1715" y="0"/>
                    <a:pt x="1716" y="0"/>
                  </a:cubicBezTo>
                  <a:cubicBezTo>
                    <a:pt x="1716" y="0"/>
                    <a:pt x="1716" y="0"/>
                    <a:pt x="1716" y="0"/>
                  </a:cubicBezTo>
                  <a:cubicBezTo>
                    <a:pt x="1717" y="0"/>
                    <a:pt x="1717" y="0"/>
                    <a:pt x="1717" y="0"/>
                  </a:cubicBezTo>
                  <a:cubicBezTo>
                    <a:pt x="1718" y="0"/>
                    <a:pt x="1718" y="0"/>
                    <a:pt x="1718" y="0"/>
                  </a:cubicBezTo>
                  <a:lnTo>
                    <a:pt x="1719" y="0"/>
                  </a:lnTo>
                  <a:lnTo>
                    <a:pt x="1719" y="0"/>
                  </a:lnTo>
                  <a:lnTo>
                    <a:pt x="1720" y="0"/>
                  </a:lnTo>
                  <a:cubicBezTo>
                    <a:pt x="1720" y="0"/>
                    <a:pt x="1720" y="0"/>
                    <a:pt x="1720" y="0"/>
                  </a:cubicBezTo>
                  <a:lnTo>
                    <a:pt x="1721" y="0"/>
                  </a:lnTo>
                  <a:lnTo>
                    <a:pt x="1721" y="0"/>
                  </a:lnTo>
                  <a:lnTo>
                    <a:pt x="1722" y="0"/>
                  </a:lnTo>
                  <a:cubicBezTo>
                    <a:pt x="1722" y="0"/>
                    <a:pt x="1722" y="0"/>
                    <a:pt x="1723" y="0"/>
                  </a:cubicBezTo>
                  <a:lnTo>
                    <a:pt x="1723" y="0"/>
                  </a:lnTo>
                  <a:cubicBezTo>
                    <a:pt x="2084" y="2"/>
                    <a:pt x="2383" y="271"/>
                    <a:pt x="2422" y="629"/>
                  </a:cubicBezTo>
                  <a:cubicBezTo>
                    <a:pt x="2424" y="655"/>
                    <a:pt x="2426" y="681"/>
                    <a:pt x="2426" y="707"/>
                  </a:cubicBezTo>
                  <a:cubicBezTo>
                    <a:pt x="2426" y="1096"/>
                    <a:pt x="2109" y="1413"/>
                    <a:pt x="1719" y="1413"/>
                  </a:cubicBezTo>
                  <a:close/>
                  <a:moveTo>
                    <a:pt x="1476" y="278"/>
                  </a:moveTo>
                  <a:cubicBezTo>
                    <a:pt x="1327" y="363"/>
                    <a:pt x="1226" y="523"/>
                    <a:pt x="1226" y="707"/>
                  </a:cubicBezTo>
                  <a:cubicBezTo>
                    <a:pt x="1226" y="979"/>
                    <a:pt x="1447" y="1200"/>
                    <a:pt x="1719" y="1200"/>
                  </a:cubicBezTo>
                  <a:cubicBezTo>
                    <a:pt x="1968" y="1200"/>
                    <a:pt x="2175" y="1014"/>
                    <a:pt x="2208" y="774"/>
                  </a:cubicBezTo>
                  <a:cubicBezTo>
                    <a:pt x="2189" y="776"/>
                    <a:pt x="2171" y="776"/>
                    <a:pt x="2152" y="776"/>
                  </a:cubicBezTo>
                  <a:cubicBezTo>
                    <a:pt x="1835" y="776"/>
                    <a:pt x="1565" y="570"/>
                    <a:pt x="1476" y="278"/>
                  </a:cubicBezTo>
                  <a:close/>
                  <a:moveTo>
                    <a:pt x="1680" y="215"/>
                  </a:moveTo>
                  <a:cubicBezTo>
                    <a:pt x="1742" y="419"/>
                    <a:pt x="1930" y="563"/>
                    <a:pt x="2152" y="563"/>
                  </a:cubicBezTo>
                  <a:cubicBezTo>
                    <a:pt x="2165" y="563"/>
                    <a:pt x="2178" y="563"/>
                    <a:pt x="2191" y="562"/>
                  </a:cubicBezTo>
                  <a:cubicBezTo>
                    <a:pt x="2129" y="361"/>
                    <a:pt x="1943" y="215"/>
                    <a:pt x="1723" y="213"/>
                  </a:cubicBezTo>
                  <a:cubicBezTo>
                    <a:pt x="1723" y="213"/>
                    <a:pt x="1722" y="213"/>
                    <a:pt x="1722" y="213"/>
                  </a:cubicBezTo>
                  <a:cubicBezTo>
                    <a:pt x="1722" y="213"/>
                    <a:pt x="1722" y="213"/>
                    <a:pt x="1721" y="213"/>
                  </a:cubicBezTo>
                  <a:cubicBezTo>
                    <a:pt x="1721" y="213"/>
                    <a:pt x="1721" y="213"/>
                    <a:pt x="1721" y="213"/>
                  </a:cubicBezTo>
                  <a:cubicBezTo>
                    <a:pt x="1720" y="213"/>
                    <a:pt x="1720" y="213"/>
                    <a:pt x="1720" y="213"/>
                  </a:cubicBezTo>
                  <a:cubicBezTo>
                    <a:pt x="1720" y="213"/>
                    <a:pt x="1720" y="213"/>
                    <a:pt x="1719" y="213"/>
                  </a:cubicBezTo>
                  <a:cubicBezTo>
                    <a:pt x="1719" y="213"/>
                    <a:pt x="1719" y="213"/>
                    <a:pt x="1719" y="213"/>
                  </a:cubicBezTo>
                  <a:lnTo>
                    <a:pt x="1718" y="213"/>
                  </a:lnTo>
                  <a:cubicBezTo>
                    <a:pt x="1705" y="213"/>
                    <a:pt x="1693" y="214"/>
                    <a:pt x="1680" y="215"/>
                  </a:cubicBezTo>
                  <a:close/>
                </a:path>
              </a:pathLst>
            </a:custGeom>
            <a:solidFill>
              <a:srgbClr val="20A7FA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7652052" y="1764044"/>
            <a:ext cx="878080" cy="880403"/>
            <a:chOff x="7652052" y="1764044"/>
            <a:chExt cx="878080" cy="880403"/>
          </a:xfrm>
        </p:grpSpPr>
        <p:sp>
          <p:nvSpPr>
            <p:cNvPr id="26" name="îśľídê"/>
            <p:cNvSpPr/>
            <p:nvPr/>
          </p:nvSpPr>
          <p:spPr bwMode="auto">
            <a:xfrm>
              <a:off x="7652052" y="1764044"/>
              <a:ext cx="878080" cy="88040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20A7FA"/>
              </a:solidFill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33" name="isļiḍê"/>
            <p:cNvSpPr/>
            <p:nvPr/>
          </p:nvSpPr>
          <p:spPr bwMode="auto">
            <a:xfrm>
              <a:off x="7866325" y="1979819"/>
              <a:ext cx="449531" cy="448852"/>
            </a:xfrm>
            <a:custGeom>
              <a:avLst/>
              <a:gdLst>
                <a:gd name="connsiteX0" fmla="*/ 528960 w 607639"/>
                <a:gd name="connsiteY0" fmla="*/ 321355 h 606722"/>
                <a:gd name="connsiteX1" fmla="*/ 607639 w 607639"/>
                <a:gd name="connsiteY1" fmla="*/ 321355 h 606722"/>
                <a:gd name="connsiteX2" fmla="*/ 321849 w 607639"/>
                <a:gd name="connsiteY2" fmla="*/ 606722 h 606722"/>
                <a:gd name="connsiteX3" fmla="*/ 321849 w 607639"/>
                <a:gd name="connsiteY3" fmla="*/ 528159 h 606722"/>
                <a:gd name="connsiteX4" fmla="*/ 528960 w 607639"/>
                <a:gd name="connsiteY4" fmla="*/ 321355 h 606722"/>
                <a:gd name="connsiteX5" fmla="*/ 416265 w 607639"/>
                <a:gd name="connsiteY5" fmla="*/ 321355 h 606722"/>
                <a:gd name="connsiteX6" fmla="*/ 492617 w 607639"/>
                <a:gd name="connsiteY6" fmla="*/ 321355 h 606722"/>
                <a:gd name="connsiteX7" fmla="*/ 321849 w 607639"/>
                <a:gd name="connsiteY7" fmla="*/ 491912 h 606722"/>
                <a:gd name="connsiteX8" fmla="*/ 321849 w 607639"/>
                <a:gd name="connsiteY8" fmla="*/ 415655 h 606722"/>
                <a:gd name="connsiteX9" fmla="*/ 416265 w 607639"/>
                <a:gd name="connsiteY9" fmla="*/ 321355 h 606722"/>
                <a:gd name="connsiteX10" fmla="*/ 321849 w 607639"/>
                <a:gd name="connsiteY10" fmla="*/ 321355 h 606722"/>
                <a:gd name="connsiteX11" fmla="*/ 379430 w 607639"/>
                <a:gd name="connsiteY11" fmla="*/ 321355 h 606722"/>
                <a:gd name="connsiteX12" fmla="*/ 321849 w 607639"/>
                <a:gd name="connsiteY12" fmla="*/ 378866 h 606722"/>
                <a:gd name="connsiteX13" fmla="*/ 228209 w 607639"/>
                <a:gd name="connsiteY13" fmla="*/ 321355 h 606722"/>
                <a:gd name="connsiteX14" fmla="*/ 285720 w 607639"/>
                <a:gd name="connsiteY14" fmla="*/ 321355 h 606722"/>
                <a:gd name="connsiteX15" fmla="*/ 285720 w 607639"/>
                <a:gd name="connsiteY15" fmla="*/ 378866 h 606722"/>
                <a:gd name="connsiteX16" fmla="*/ 228209 w 607639"/>
                <a:gd name="connsiteY16" fmla="*/ 321355 h 606722"/>
                <a:gd name="connsiteX17" fmla="*/ 115022 w 607639"/>
                <a:gd name="connsiteY17" fmla="*/ 321355 h 606722"/>
                <a:gd name="connsiteX18" fmla="*/ 191382 w 607639"/>
                <a:gd name="connsiteY18" fmla="*/ 321355 h 606722"/>
                <a:gd name="connsiteX19" fmla="*/ 285720 w 607639"/>
                <a:gd name="connsiteY19" fmla="*/ 415655 h 606722"/>
                <a:gd name="connsiteX20" fmla="*/ 285720 w 607639"/>
                <a:gd name="connsiteY20" fmla="*/ 491912 h 606722"/>
                <a:gd name="connsiteX21" fmla="*/ 115022 w 607639"/>
                <a:gd name="connsiteY21" fmla="*/ 321355 h 606722"/>
                <a:gd name="connsiteX22" fmla="*/ 0 w 607639"/>
                <a:gd name="connsiteY22" fmla="*/ 321355 h 606722"/>
                <a:gd name="connsiteX23" fmla="*/ 78684 w 607639"/>
                <a:gd name="connsiteY23" fmla="*/ 321355 h 606722"/>
                <a:gd name="connsiteX24" fmla="*/ 285719 w 607639"/>
                <a:gd name="connsiteY24" fmla="*/ 528159 h 606722"/>
                <a:gd name="connsiteX25" fmla="*/ 285719 w 607639"/>
                <a:gd name="connsiteY25" fmla="*/ 606722 h 606722"/>
                <a:gd name="connsiteX26" fmla="*/ 0 w 607639"/>
                <a:gd name="connsiteY26" fmla="*/ 321355 h 606722"/>
                <a:gd name="connsiteX27" fmla="*/ 321849 w 607639"/>
                <a:gd name="connsiteY27" fmla="*/ 227856 h 606722"/>
                <a:gd name="connsiteX28" fmla="*/ 379430 w 607639"/>
                <a:gd name="connsiteY28" fmla="*/ 285296 h 606722"/>
                <a:gd name="connsiteX29" fmla="*/ 321849 w 607639"/>
                <a:gd name="connsiteY29" fmla="*/ 285296 h 606722"/>
                <a:gd name="connsiteX30" fmla="*/ 285720 w 607639"/>
                <a:gd name="connsiteY30" fmla="*/ 227856 h 606722"/>
                <a:gd name="connsiteX31" fmla="*/ 285720 w 607639"/>
                <a:gd name="connsiteY31" fmla="*/ 285296 h 606722"/>
                <a:gd name="connsiteX32" fmla="*/ 228209 w 607639"/>
                <a:gd name="connsiteY32" fmla="*/ 285296 h 606722"/>
                <a:gd name="connsiteX33" fmla="*/ 285720 w 607639"/>
                <a:gd name="connsiteY33" fmla="*/ 227856 h 606722"/>
                <a:gd name="connsiteX34" fmla="*/ 321849 w 607639"/>
                <a:gd name="connsiteY34" fmla="*/ 114810 h 606722"/>
                <a:gd name="connsiteX35" fmla="*/ 492617 w 607639"/>
                <a:gd name="connsiteY35" fmla="*/ 285296 h 606722"/>
                <a:gd name="connsiteX36" fmla="*/ 416265 w 607639"/>
                <a:gd name="connsiteY36" fmla="*/ 285296 h 606722"/>
                <a:gd name="connsiteX37" fmla="*/ 321849 w 607639"/>
                <a:gd name="connsiteY37" fmla="*/ 191075 h 606722"/>
                <a:gd name="connsiteX38" fmla="*/ 285720 w 607639"/>
                <a:gd name="connsiteY38" fmla="*/ 114810 h 606722"/>
                <a:gd name="connsiteX39" fmla="*/ 285720 w 607639"/>
                <a:gd name="connsiteY39" fmla="*/ 191075 h 606722"/>
                <a:gd name="connsiteX40" fmla="*/ 191382 w 607639"/>
                <a:gd name="connsiteY40" fmla="*/ 285296 h 606722"/>
                <a:gd name="connsiteX41" fmla="*/ 115022 w 607639"/>
                <a:gd name="connsiteY41" fmla="*/ 285296 h 606722"/>
                <a:gd name="connsiteX42" fmla="*/ 285720 w 607639"/>
                <a:gd name="connsiteY42" fmla="*/ 114810 h 606722"/>
                <a:gd name="connsiteX43" fmla="*/ 321849 w 607639"/>
                <a:gd name="connsiteY43" fmla="*/ 0 h 606722"/>
                <a:gd name="connsiteX44" fmla="*/ 607639 w 607639"/>
                <a:gd name="connsiteY44" fmla="*/ 285296 h 606722"/>
                <a:gd name="connsiteX45" fmla="*/ 528960 w 607639"/>
                <a:gd name="connsiteY45" fmla="*/ 285296 h 606722"/>
                <a:gd name="connsiteX46" fmla="*/ 321849 w 607639"/>
                <a:gd name="connsiteY46" fmla="*/ 78567 h 606722"/>
                <a:gd name="connsiteX47" fmla="*/ 285719 w 607639"/>
                <a:gd name="connsiteY47" fmla="*/ 0 h 606722"/>
                <a:gd name="connsiteX48" fmla="*/ 285719 w 607639"/>
                <a:gd name="connsiteY48" fmla="*/ 78567 h 606722"/>
                <a:gd name="connsiteX49" fmla="*/ 78684 w 607639"/>
                <a:gd name="connsiteY49" fmla="*/ 285296 h 606722"/>
                <a:gd name="connsiteX50" fmla="*/ 0 w 607639"/>
                <a:gd name="connsiteY50" fmla="*/ 285296 h 606722"/>
                <a:gd name="connsiteX51" fmla="*/ 285719 w 607639"/>
                <a:gd name="connsiteY51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607639" h="606722">
                  <a:moveTo>
                    <a:pt x="528960" y="321355"/>
                  </a:moveTo>
                  <a:lnTo>
                    <a:pt x="607639" y="321355"/>
                  </a:lnTo>
                  <a:cubicBezTo>
                    <a:pt x="598561" y="474659"/>
                    <a:pt x="475380" y="597657"/>
                    <a:pt x="321849" y="606722"/>
                  </a:cubicBezTo>
                  <a:lnTo>
                    <a:pt x="321849" y="528159"/>
                  </a:lnTo>
                  <a:cubicBezTo>
                    <a:pt x="432035" y="519361"/>
                    <a:pt x="520149" y="431378"/>
                    <a:pt x="528960" y="321355"/>
                  </a:cubicBezTo>
                  <a:close/>
                  <a:moveTo>
                    <a:pt x="416265" y="321355"/>
                  </a:moveTo>
                  <a:lnTo>
                    <a:pt x="492617" y="321355"/>
                  </a:lnTo>
                  <a:cubicBezTo>
                    <a:pt x="484074" y="411477"/>
                    <a:pt x="412083" y="483380"/>
                    <a:pt x="321849" y="491912"/>
                  </a:cubicBezTo>
                  <a:lnTo>
                    <a:pt x="321849" y="415655"/>
                  </a:lnTo>
                  <a:cubicBezTo>
                    <a:pt x="370258" y="407922"/>
                    <a:pt x="408523" y="369705"/>
                    <a:pt x="416265" y="321355"/>
                  </a:cubicBezTo>
                  <a:close/>
                  <a:moveTo>
                    <a:pt x="321849" y="321355"/>
                  </a:moveTo>
                  <a:lnTo>
                    <a:pt x="379430" y="321355"/>
                  </a:lnTo>
                  <a:cubicBezTo>
                    <a:pt x="372666" y="349711"/>
                    <a:pt x="350239" y="372111"/>
                    <a:pt x="321849" y="378866"/>
                  </a:cubicBezTo>
                  <a:close/>
                  <a:moveTo>
                    <a:pt x="228209" y="321355"/>
                  </a:moveTo>
                  <a:lnTo>
                    <a:pt x="285720" y="321355"/>
                  </a:lnTo>
                  <a:lnTo>
                    <a:pt x="285720" y="378866"/>
                  </a:lnTo>
                  <a:cubicBezTo>
                    <a:pt x="257321" y="372111"/>
                    <a:pt x="234975" y="349711"/>
                    <a:pt x="228209" y="321355"/>
                  </a:cubicBezTo>
                  <a:close/>
                  <a:moveTo>
                    <a:pt x="115022" y="321355"/>
                  </a:moveTo>
                  <a:lnTo>
                    <a:pt x="191382" y="321355"/>
                  </a:lnTo>
                  <a:cubicBezTo>
                    <a:pt x="199125" y="369705"/>
                    <a:pt x="237394" y="407922"/>
                    <a:pt x="285720" y="415655"/>
                  </a:cubicBezTo>
                  <a:lnTo>
                    <a:pt x="285720" y="491912"/>
                  </a:lnTo>
                  <a:cubicBezTo>
                    <a:pt x="195565" y="483380"/>
                    <a:pt x="123566" y="411477"/>
                    <a:pt x="115022" y="321355"/>
                  </a:cubicBezTo>
                  <a:close/>
                  <a:moveTo>
                    <a:pt x="0" y="321355"/>
                  </a:moveTo>
                  <a:lnTo>
                    <a:pt x="78684" y="321355"/>
                  </a:lnTo>
                  <a:cubicBezTo>
                    <a:pt x="87407" y="431378"/>
                    <a:pt x="175615" y="519361"/>
                    <a:pt x="285719" y="528159"/>
                  </a:cubicBezTo>
                  <a:lnTo>
                    <a:pt x="285719" y="606722"/>
                  </a:lnTo>
                  <a:cubicBezTo>
                    <a:pt x="132267" y="597657"/>
                    <a:pt x="8990" y="474659"/>
                    <a:pt x="0" y="321355"/>
                  </a:cubicBezTo>
                  <a:close/>
                  <a:moveTo>
                    <a:pt x="321849" y="227856"/>
                  </a:moveTo>
                  <a:cubicBezTo>
                    <a:pt x="350239" y="234614"/>
                    <a:pt x="372666" y="256932"/>
                    <a:pt x="379430" y="285296"/>
                  </a:cubicBezTo>
                  <a:lnTo>
                    <a:pt x="321849" y="285296"/>
                  </a:lnTo>
                  <a:close/>
                  <a:moveTo>
                    <a:pt x="285720" y="227856"/>
                  </a:moveTo>
                  <a:lnTo>
                    <a:pt x="285720" y="285296"/>
                  </a:lnTo>
                  <a:lnTo>
                    <a:pt x="228209" y="285296"/>
                  </a:lnTo>
                  <a:cubicBezTo>
                    <a:pt x="234975" y="256932"/>
                    <a:pt x="257321" y="234614"/>
                    <a:pt x="285720" y="227856"/>
                  </a:cubicBezTo>
                  <a:close/>
                  <a:moveTo>
                    <a:pt x="321849" y="114810"/>
                  </a:moveTo>
                  <a:cubicBezTo>
                    <a:pt x="412083" y="123343"/>
                    <a:pt x="484074" y="195253"/>
                    <a:pt x="492617" y="285296"/>
                  </a:cubicBezTo>
                  <a:lnTo>
                    <a:pt x="416265" y="285296"/>
                  </a:lnTo>
                  <a:cubicBezTo>
                    <a:pt x="408523" y="237030"/>
                    <a:pt x="370258" y="198809"/>
                    <a:pt x="321849" y="191075"/>
                  </a:cubicBezTo>
                  <a:close/>
                  <a:moveTo>
                    <a:pt x="285720" y="114810"/>
                  </a:moveTo>
                  <a:lnTo>
                    <a:pt x="285720" y="191075"/>
                  </a:lnTo>
                  <a:cubicBezTo>
                    <a:pt x="237394" y="198809"/>
                    <a:pt x="199125" y="237030"/>
                    <a:pt x="191382" y="285296"/>
                  </a:cubicBezTo>
                  <a:lnTo>
                    <a:pt x="115022" y="285296"/>
                  </a:lnTo>
                  <a:cubicBezTo>
                    <a:pt x="123566" y="195253"/>
                    <a:pt x="195565" y="123343"/>
                    <a:pt x="285720" y="114810"/>
                  </a:cubicBezTo>
                  <a:close/>
                  <a:moveTo>
                    <a:pt x="321849" y="0"/>
                  </a:moveTo>
                  <a:cubicBezTo>
                    <a:pt x="475380" y="8977"/>
                    <a:pt x="598561" y="132072"/>
                    <a:pt x="607639" y="285296"/>
                  </a:cubicBezTo>
                  <a:lnTo>
                    <a:pt x="528960" y="285296"/>
                  </a:lnTo>
                  <a:cubicBezTo>
                    <a:pt x="520149" y="175355"/>
                    <a:pt x="432035" y="87277"/>
                    <a:pt x="321849" y="78567"/>
                  </a:cubicBezTo>
                  <a:close/>
                  <a:moveTo>
                    <a:pt x="285719" y="0"/>
                  </a:moveTo>
                  <a:lnTo>
                    <a:pt x="285719" y="78567"/>
                  </a:lnTo>
                  <a:cubicBezTo>
                    <a:pt x="175615" y="87277"/>
                    <a:pt x="87407" y="175355"/>
                    <a:pt x="78684" y="285296"/>
                  </a:cubicBezTo>
                  <a:lnTo>
                    <a:pt x="0" y="285296"/>
                  </a:lnTo>
                  <a:cubicBezTo>
                    <a:pt x="8990" y="132072"/>
                    <a:pt x="132267" y="8977"/>
                    <a:pt x="285719" y="0"/>
                  </a:cubicBezTo>
                  <a:close/>
                </a:path>
              </a:pathLst>
            </a:custGeom>
            <a:solidFill>
              <a:srgbClr val="20A7FA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1247215" y="2747915"/>
            <a:ext cx="4417272" cy="2106920"/>
            <a:chOff x="1247215" y="2747915"/>
            <a:chExt cx="4417272" cy="2106920"/>
          </a:xfrm>
        </p:grpSpPr>
        <p:sp>
          <p:nvSpPr>
            <p:cNvPr id="28" name="íṧḻíḋè"/>
            <p:cNvSpPr/>
            <p:nvPr/>
          </p:nvSpPr>
          <p:spPr bwMode="auto">
            <a:xfrm>
              <a:off x="1956267" y="3461056"/>
              <a:ext cx="2999168" cy="1393779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历时一年的小班化的菜单式培训，内容丰富，形式多样</a:t>
              </a: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。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有理论学习、有课后实践，有专家讲座、有团队拓展</a:t>
              </a: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。</a:t>
              </a:r>
              <a:endParaRPr lang="zh-CN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9" name="îśľïḑê"/>
            <p:cNvSpPr txBox="1"/>
            <p:nvPr/>
          </p:nvSpPr>
          <p:spPr bwMode="auto">
            <a:xfrm>
              <a:off x="1247215" y="2747915"/>
              <a:ext cx="4417272" cy="54169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zh-CN" sz="2800" b="1">
                  <a:solidFill>
                    <a:srgbClr val="03378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小班化菜单式培训</a:t>
              </a:r>
              <a:endParaRPr lang="zh-CN" altLang="zh-CN" sz="2800" b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897880" y="2747915"/>
            <a:ext cx="4386424" cy="2133001"/>
            <a:chOff x="5897880" y="2747915"/>
            <a:chExt cx="4386424" cy="2133001"/>
          </a:xfrm>
        </p:grpSpPr>
        <p:sp>
          <p:nvSpPr>
            <p:cNvPr id="30" name="ïŝľíḋe"/>
            <p:cNvSpPr/>
            <p:nvPr/>
          </p:nvSpPr>
          <p:spPr bwMode="auto">
            <a:xfrm>
              <a:off x="5897880" y="3461056"/>
              <a:ext cx="4386424" cy="1419860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zh-CN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我不仅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开阔了眼界，更重要的是明确了培训的目的和意义，那就是：怎样将培训成果与自己的实际工作相结合，做到学以致用，学有所为。</a:t>
              </a:r>
              <a:endParaRPr lang="zh-CN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1" name="îSľiḋê"/>
            <p:cNvSpPr txBox="1"/>
            <p:nvPr/>
          </p:nvSpPr>
          <p:spPr bwMode="auto">
            <a:xfrm>
              <a:off x="5897880" y="2747915"/>
              <a:ext cx="4386424" cy="54169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algn="ctr" defTabSz="914400">
                <a:spcBef>
                  <a:spcPct val="0"/>
                </a:spcBef>
                <a:defRPr sz="2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</a:defRPr>
              </a:lvl1pPr>
              <a:lvl2pPr marL="457200" defTabSz="914400"/>
              <a:lvl3pPr marL="914400" defTabSz="914400"/>
              <a:lvl4pPr marL="1371600" defTabSz="914400"/>
              <a:lvl5pPr marL="1828800" defTabSz="914400"/>
              <a:lvl6pPr marL="2286000" defTabSz="914400"/>
              <a:lvl7pPr marL="2743200" defTabSz="914400"/>
              <a:lvl8pPr marL="3200400" defTabSz="914400"/>
              <a:lvl9pPr marL="3657600" defTabSz="914400"/>
            </a:lstStyle>
            <a:p>
              <a:pPr>
                <a:lnSpc>
                  <a:spcPct val="120000"/>
                </a:lnSpc>
              </a:pPr>
              <a:r>
                <a:rPr lang="zh-CN" altLang="zh-CN" sz="2800">
                  <a:solidFill>
                    <a:srgbClr val="03378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明确了培训的目的和意义</a:t>
              </a:r>
              <a:endParaRPr lang="zh-CN" altLang="zh-CN" sz="2800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8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ṩḻ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ïṧļiďe"/>
          <p:cNvSpPr txBox="1"/>
          <p:nvPr/>
        </p:nvSpPr>
        <p:spPr>
          <a:xfrm>
            <a:off x="1183209" y="32913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0777D9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rgbClr val="0777D9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699657" y="3686629"/>
            <a:ext cx="9492343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ṣ1iḍè"/>
          <p:cNvSpPr txBox="1"/>
          <p:nvPr/>
        </p:nvSpPr>
        <p:spPr>
          <a:xfrm>
            <a:off x="2720157" y="3823214"/>
            <a:ext cx="7993563" cy="5637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3600" b="1" i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600" b="0" spc="300" smtClean="0">
                <a:latin typeface="Arial" panose="020B0604020202020204" pitchFamily="34" charset="0"/>
                <a:cs typeface="Arial" panose="020B0604020202020204" pitchFamily="34" charset="0"/>
              </a:rPr>
              <a:t>EXPERTS LEAD, </a:t>
            </a:r>
            <a:endParaRPr lang="en-US" altLang="zh-CN" sz="1600" b="0" spc="3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600" b="0" spc="300" smtClean="0">
                <a:latin typeface="Arial" panose="020B0604020202020204" pitchFamily="34" charset="0"/>
                <a:cs typeface="Arial" panose="020B0604020202020204" pitchFamily="34" charset="0"/>
              </a:rPr>
              <a:t>IMPROVE THEMSELVES AND CREATE A HAPPY LIFE</a:t>
            </a:r>
            <a:endParaRPr lang="zh-CN" altLang="en-US" sz="1600" b="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699657" y="2987159"/>
            <a:ext cx="7475475" cy="608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sz="3600" b="1" i="1" smtClean="0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专</a:t>
            </a:r>
            <a:r>
              <a:rPr lang="zh-CN" altLang="zh-CN" sz="3600" b="1" i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家引领，完善自我，营造幸福人生</a:t>
            </a:r>
            <a:endParaRPr lang="zh-CN" altLang="zh-CN" sz="3600" b="1" i="1">
              <a:solidFill>
                <a:srgbClr val="03378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zh-CN" altLang="en-US" smtClean="0">
                <a:sym typeface="+mn-lt"/>
              </a:rPr>
              <a:t>最大特点</a:t>
            </a:r>
            <a:endParaRPr lang="zh-CN" altLang="zh-CN"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809079" y="3099740"/>
            <a:ext cx="3709821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家授课，是本次培训的一大特点。在校内处室领导和校外专家的提点之下，我如沐春风，恍如一只“井底之蛙”跃出井栏，开拓了眼界，增长了见识。</a:t>
            </a:r>
            <a:endParaRPr lang="zh-CN" altLang="zh-CN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1472564"/>
            <a:ext cx="3459480" cy="4763136"/>
          </a:xfrm>
          <a:prstGeom prst="rect">
            <a:avLst/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7809079" y="5155157"/>
            <a:ext cx="1493520" cy="461128"/>
          </a:xfrm>
          <a:prstGeom prst="roundRect">
            <a:avLst>
              <a:gd name="adj" fmla="val 50000"/>
            </a:avLst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200"/>
          </a:p>
        </p:txBody>
      </p:sp>
      <p:sp>
        <p:nvSpPr>
          <p:cNvPr id="10" name="矩形 9"/>
          <p:cNvSpPr/>
          <p:nvPr/>
        </p:nvSpPr>
        <p:spPr>
          <a:xfrm>
            <a:off x="7809079" y="2469680"/>
            <a:ext cx="3709821" cy="5170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专家</a:t>
            </a:r>
            <a:r>
              <a:rPr lang="zh-CN" altLang="en-US" sz="2800" b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授</a:t>
            </a:r>
            <a:r>
              <a:rPr lang="zh-CN" altLang="en-US" sz="2800" b="1" smtClean="0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课</a:t>
            </a:r>
            <a:endParaRPr lang="zh-CN" altLang="zh-CN" sz="2800" b="1">
              <a:solidFill>
                <a:srgbClr val="03378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4" r="3975" b="50552"/>
          <a:stretch>
            <a:fillRect/>
          </a:stretch>
        </p:blipFill>
        <p:spPr>
          <a:xfrm>
            <a:off x="1005841" y="1717250"/>
            <a:ext cx="5897880" cy="4273764"/>
          </a:xfrm>
          <a:prstGeom prst="rect">
            <a:avLst/>
          </a:prstGeom>
        </p:spPr>
      </p:pic>
      <p:grpSp>
        <p:nvGrpSpPr>
          <p:cNvPr id="15" name="组合 14"/>
          <p:cNvGrpSpPr/>
          <p:nvPr/>
        </p:nvGrpSpPr>
        <p:grpSpPr>
          <a:xfrm>
            <a:off x="8105549" y="5218594"/>
            <a:ext cx="900580" cy="334254"/>
            <a:chOff x="8039103" y="5218594"/>
            <a:chExt cx="900580" cy="334254"/>
          </a:xfrm>
        </p:grpSpPr>
        <p:sp>
          <p:nvSpPr>
            <p:cNvPr id="12" name="networking_126300"/>
            <p:cNvSpPr>
              <a:spLocks noChangeAspect="1"/>
            </p:cNvSpPr>
            <p:nvPr/>
          </p:nvSpPr>
          <p:spPr bwMode="auto">
            <a:xfrm>
              <a:off x="8039103" y="5218594"/>
              <a:ext cx="335278" cy="334254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  <a:gd name="connsiteX130" fmla="*/ 373273 h 605239"/>
                <a:gd name="connsiteY130" fmla="*/ 373273 h 605239"/>
                <a:gd name="connsiteX131" fmla="*/ 373273 h 605239"/>
                <a:gd name="connsiteY131" fmla="*/ 373273 h 605239"/>
                <a:gd name="connsiteX132" fmla="*/ 373273 h 605239"/>
                <a:gd name="connsiteY132" fmla="*/ 373273 h 605239"/>
                <a:gd name="connsiteX133" fmla="*/ 373273 h 605239"/>
                <a:gd name="connsiteY133" fmla="*/ 373273 h 605239"/>
                <a:gd name="connsiteX134" fmla="*/ 373273 h 605239"/>
                <a:gd name="connsiteY134" fmla="*/ 373273 h 605239"/>
                <a:gd name="connsiteX135" fmla="*/ 373273 h 605239"/>
                <a:gd name="connsiteY135" fmla="*/ 373273 h 605239"/>
                <a:gd name="connsiteX136" fmla="*/ 373273 h 605239"/>
                <a:gd name="connsiteY136" fmla="*/ 373273 h 605239"/>
                <a:gd name="connsiteX137" fmla="*/ 373273 h 605239"/>
                <a:gd name="connsiteY137" fmla="*/ 373273 h 605239"/>
                <a:gd name="connsiteX138" fmla="*/ 373273 h 605239"/>
                <a:gd name="connsiteY138" fmla="*/ 373273 h 605239"/>
                <a:gd name="connsiteX139" fmla="*/ 373273 h 605239"/>
                <a:gd name="connsiteY139" fmla="*/ 373273 h 605239"/>
                <a:gd name="connsiteX140" fmla="*/ 373273 h 605239"/>
                <a:gd name="connsiteY140" fmla="*/ 373273 h 605239"/>
                <a:gd name="connsiteX141" fmla="*/ 373273 h 605239"/>
                <a:gd name="connsiteY141" fmla="*/ 373273 h 605239"/>
                <a:gd name="connsiteX142" fmla="*/ 373273 h 605239"/>
                <a:gd name="connsiteY142" fmla="*/ 373273 h 605239"/>
                <a:gd name="connsiteX143" fmla="*/ 373273 h 605239"/>
                <a:gd name="connsiteY143" fmla="*/ 373273 h 605239"/>
                <a:gd name="connsiteX144" fmla="*/ 373273 h 605239"/>
                <a:gd name="connsiteY144" fmla="*/ 373273 h 605239"/>
                <a:gd name="connsiteX145" fmla="*/ 373273 h 605239"/>
                <a:gd name="connsiteY145" fmla="*/ 373273 h 605239"/>
                <a:gd name="connsiteX146" fmla="*/ 373273 h 605239"/>
                <a:gd name="connsiteY146" fmla="*/ 373273 h 605239"/>
                <a:gd name="connsiteX147" fmla="*/ 373273 h 605239"/>
                <a:gd name="connsiteY147" fmla="*/ 373273 h 605239"/>
                <a:gd name="connsiteX148" fmla="*/ 373273 h 605239"/>
                <a:gd name="connsiteY148" fmla="*/ 373273 h 605239"/>
                <a:gd name="connsiteX149" fmla="*/ 373273 h 605239"/>
                <a:gd name="connsiteY149" fmla="*/ 373273 h 605239"/>
                <a:gd name="connsiteX150" fmla="*/ 373273 h 605239"/>
                <a:gd name="connsiteY150" fmla="*/ 373273 h 605239"/>
                <a:gd name="connsiteX151" fmla="*/ 373273 h 605239"/>
                <a:gd name="connsiteY151" fmla="*/ 373273 h 605239"/>
                <a:gd name="connsiteX152" fmla="*/ 373273 h 605239"/>
                <a:gd name="connsiteY152" fmla="*/ 373273 h 605239"/>
                <a:gd name="connsiteX153" fmla="*/ 373273 h 605239"/>
                <a:gd name="connsiteY153" fmla="*/ 373273 h 605239"/>
                <a:gd name="connsiteX154" fmla="*/ 373273 h 605239"/>
                <a:gd name="connsiteY154" fmla="*/ 373273 h 605239"/>
                <a:gd name="connsiteX155" fmla="*/ 373273 h 605239"/>
                <a:gd name="connsiteY155" fmla="*/ 373273 h 605239"/>
                <a:gd name="connsiteX156" fmla="*/ 373273 h 605239"/>
                <a:gd name="connsiteY156" fmla="*/ 373273 h 605239"/>
                <a:gd name="connsiteX157" fmla="*/ 373273 h 605239"/>
                <a:gd name="connsiteY157" fmla="*/ 373273 h 605239"/>
                <a:gd name="connsiteX158" fmla="*/ 373273 h 605239"/>
                <a:gd name="connsiteY158" fmla="*/ 373273 h 605239"/>
                <a:gd name="connsiteX159" fmla="*/ 373273 h 605239"/>
                <a:gd name="connsiteY159" fmla="*/ 373273 h 605239"/>
                <a:gd name="connsiteX160" fmla="*/ 373273 h 605239"/>
                <a:gd name="connsiteY160" fmla="*/ 373273 h 605239"/>
                <a:gd name="connsiteX161" fmla="*/ 373273 h 605239"/>
                <a:gd name="connsiteY161" fmla="*/ 373273 h 605239"/>
                <a:gd name="connsiteX162" fmla="*/ 373273 h 605239"/>
                <a:gd name="connsiteY162" fmla="*/ 373273 h 605239"/>
                <a:gd name="connsiteX163" fmla="*/ 373273 h 605239"/>
                <a:gd name="connsiteY163" fmla="*/ 373273 h 605239"/>
                <a:gd name="connsiteX164" fmla="*/ 373273 h 605239"/>
                <a:gd name="connsiteY164" fmla="*/ 373273 h 605239"/>
                <a:gd name="connsiteX165" fmla="*/ 373273 h 605239"/>
                <a:gd name="connsiteY165" fmla="*/ 373273 h 605239"/>
                <a:gd name="connsiteX166" fmla="*/ 373273 h 605239"/>
                <a:gd name="connsiteY166" fmla="*/ 373273 h 605239"/>
                <a:gd name="connsiteX167" fmla="*/ 373273 h 605239"/>
                <a:gd name="connsiteY167" fmla="*/ 373273 h 605239"/>
                <a:gd name="connsiteX168" fmla="*/ 373273 h 605239"/>
                <a:gd name="connsiteY168" fmla="*/ 373273 h 605239"/>
                <a:gd name="connsiteX169" fmla="*/ 373273 h 605239"/>
                <a:gd name="connsiteY169" fmla="*/ 373273 h 605239"/>
                <a:gd name="connsiteX170" fmla="*/ 373273 h 605239"/>
                <a:gd name="connsiteY170" fmla="*/ 373273 h 605239"/>
                <a:gd name="connsiteX171" fmla="*/ 373273 h 605239"/>
                <a:gd name="connsiteY171" fmla="*/ 373273 h 605239"/>
                <a:gd name="connsiteX172" fmla="*/ 373273 h 605239"/>
                <a:gd name="connsiteY172" fmla="*/ 373273 h 605239"/>
                <a:gd name="connsiteX173" fmla="*/ 373273 h 605239"/>
                <a:gd name="connsiteY173" fmla="*/ 373273 h 605239"/>
                <a:gd name="connsiteX174" fmla="*/ 373273 h 605239"/>
                <a:gd name="connsiteY174" fmla="*/ 373273 h 605239"/>
                <a:gd name="connsiteX175" fmla="*/ 373273 h 605239"/>
                <a:gd name="connsiteY175" fmla="*/ 373273 h 605239"/>
                <a:gd name="connsiteX176" fmla="*/ 373273 h 605239"/>
                <a:gd name="connsiteY176" fmla="*/ 373273 h 605239"/>
                <a:gd name="connsiteX177" fmla="*/ 373273 h 605239"/>
                <a:gd name="connsiteY177" fmla="*/ 373273 h 605239"/>
                <a:gd name="connsiteX178" fmla="*/ 373273 h 605239"/>
                <a:gd name="connsiteY178" fmla="*/ 373273 h 605239"/>
                <a:gd name="connsiteX179" fmla="*/ 373273 h 605239"/>
                <a:gd name="connsiteY179" fmla="*/ 373273 h 605239"/>
                <a:gd name="connsiteX180" fmla="*/ 373273 h 605239"/>
                <a:gd name="connsiteY180" fmla="*/ 373273 h 605239"/>
                <a:gd name="connsiteX181" fmla="*/ 373273 h 605239"/>
                <a:gd name="connsiteY181" fmla="*/ 373273 h 605239"/>
                <a:gd name="connsiteX182" fmla="*/ 373273 h 605239"/>
                <a:gd name="connsiteY182" fmla="*/ 373273 h 605239"/>
                <a:gd name="connsiteX183" fmla="*/ 373273 h 605239"/>
                <a:gd name="connsiteY183" fmla="*/ 373273 h 605239"/>
                <a:gd name="connsiteX184" fmla="*/ 373273 h 605239"/>
                <a:gd name="connsiteY184" fmla="*/ 373273 h 605239"/>
                <a:gd name="connsiteX185" fmla="*/ 373273 h 605239"/>
                <a:gd name="connsiteY185" fmla="*/ 373273 h 605239"/>
                <a:gd name="connsiteX186" fmla="*/ 373273 h 605239"/>
                <a:gd name="connsiteY186" fmla="*/ 373273 h 605239"/>
                <a:gd name="connsiteX187" fmla="*/ 373273 h 605239"/>
                <a:gd name="connsiteY187" fmla="*/ 373273 h 605239"/>
                <a:gd name="connsiteX188" fmla="*/ 373273 h 605239"/>
                <a:gd name="connsiteY188" fmla="*/ 373273 h 605239"/>
                <a:gd name="connsiteX189" fmla="*/ 373273 h 605239"/>
                <a:gd name="connsiteY189" fmla="*/ 373273 h 605239"/>
                <a:gd name="connsiteX190" fmla="*/ 373273 h 605239"/>
                <a:gd name="connsiteY190" fmla="*/ 373273 h 605239"/>
                <a:gd name="connsiteX191" fmla="*/ 373273 h 605239"/>
                <a:gd name="connsiteY191" fmla="*/ 373273 h 605239"/>
                <a:gd name="connsiteX192" fmla="*/ 373273 h 605239"/>
                <a:gd name="connsiteY192" fmla="*/ 373273 h 605239"/>
                <a:gd name="connsiteX193" fmla="*/ 373273 h 605239"/>
                <a:gd name="connsiteY193" fmla="*/ 373273 h 605239"/>
                <a:gd name="connsiteX194" fmla="*/ 373273 h 605239"/>
                <a:gd name="connsiteY194" fmla="*/ 373273 h 605239"/>
                <a:gd name="connsiteX195" fmla="*/ 373273 h 605239"/>
                <a:gd name="connsiteY195" fmla="*/ 373273 h 605239"/>
                <a:gd name="connsiteX196" fmla="*/ 373273 h 605239"/>
                <a:gd name="connsiteY196" fmla="*/ 373273 h 605239"/>
                <a:gd name="connsiteX197" fmla="*/ 373273 h 605239"/>
                <a:gd name="connsiteY197" fmla="*/ 373273 h 605239"/>
                <a:gd name="connsiteX198" fmla="*/ 373273 h 605239"/>
                <a:gd name="connsiteY198" fmla="*/ 373273 h 605239"/>
                <a:gd name="connsiteX199" fmla="*/ 373273 h 605239"/>
                <a:gd name="connsiteY199" fmla="*/ 373273 h 605239"/>
                <a:gd name="connsiteX200" fmla="*/ 373273 h 605239"/>
                <a:gd name="connsiteY200" fmla="*/ 373273 h 605239"/>
                <a:gd name="connsiteX201" fmla="*/ 373273 h 605239"/>
                <a:gd name="connsiteY201" fmla="*/ 373273 h 605239"/>
                <a:gd name="connsiteX202" fmla="*/ 373273 h 605239"/>
                <a:gd name="connsiteY202" fmla="*/ 373273 h 605239"/>
                <a:gd name="connsiteX203" fmla="*/ 373273 h 605239"/>
                <a:gd name="connsiteY203" fmla="*/ 373273 h 605239"/>
                <a:gd name="connsiteX204" fmla="*/ 373273 h 605239"/>
                <a:gd name="connsiteY204" fmla="*/ 373273 h 605239"/>
                <a:gd name="connsiteX205" fmla="*/ 373273 h 605239"/>
                <a:gd name="connsiteY205" fmla="*/ 373273 h 605239"/>
                <a:gd name="connsiteX206" fmla="*/ 373273 h 605239"/>
                <a:gd name="connsiteY206" fmla="*/ 373273 h 605239"/>
                <a:gd name="connsiteX207" fmla="*/ 373273 h 605239"/>
                <a:gd name="connsiteY207" fmla="*/ 373273 h 605239"/>
                <a:gd name="connsiteX208" fmla="*/ 373273 h 605239"/>
                <a:gd name="connsiteY208" fmla="*/ 373273 h 605239"/>
                <a:gd name="connsiteX209" fmla="*/ 373273 h 605239"/>
                <a:gd name="connsiteY209" fmla="*/ 373273 h 605239"/>
                <a:gd name="connsiteX210" fmla="*/ 373273 h 605239"/>
                <a:gd name="connsiteY210" fmla="*/ 373273 h 605239"/>
                <a:gd name="connsiteX211" fmla="*/ 373273 h 605239"/>
                <a:gd name="connsiteY211" fmla="*/ 373273 h 605239"/>
                <a:gd name="connsiteX212" fmla="*/ 373273 h 605239"/>
                <a:gd name="connsiteY212" fmla="*/ 373273 h 605239"/>
                <a:gd name="connsiteX213" fmla="*/ 373273 h 605239"/>
                <a:gd name="connsiteY213" fmla="*/ 373273 h 605239"/>
                <a:gd name="connsiteX214" fmla="*/ 373273 h 605239"/>
                <a:gd name="connsiteY214" fmla="*/ 373273 h 605239"/>
                <a:gd name="connsiteX215" fmla="*/ 373273 h 605239"/>
                <a:gd name="connsiteY215" fmla="*/ 373273 h 605239"/>
                <a:gd name="connsiteX216" fmla="*/ 373273 h 605239"/>
                <a:gd name="connsiteY216" fmla="*/ 373273 h 605239"/>
                <a:gd name="connsiteX217" fmla="*/ 373273 h 605239"/>
                <a:gd name="connsiteY217" fmla="*/ 373273 h 605239"/>
                <a:gd name="connsiteX218" fmla="*/ 373273 h 605239"/>
                <a:gd name="connsiteY218" fmla="*/ 373273 h 605239"/>
                <a:gd name="connsiteX219" fmla="*/ 373273 h 605239"/>
                <a:gd name="connsiteY219" fmla="*/ 373273 h 605239"/>
                <a:gd name="connsiteX220" fmla="*/ 373273 h 605239"/>
                <a:gd name="connsiteY220" fmla="*/ 373273 h 605239"/>
                <a:gd name="connsiteX221" fmla="*/ 373273 h 605239"/>
                <a:gd name="connsiteY221" fmla="*/ 373273 h 605239"/>
                <a:gd name="connsiteX222" fmla="*/ 373273 h 605239"/>
                <a:gd name="connsiteY222" fmla="*/ 373273 h 605239"/>
                <a:gd name="connsiteX223" fmla="*/ 373273 h 605239"/>
                <a:gd name="connsiteY223" fmla="*/ 373273 h 605239"/>
                <a:gd name="connsiteX224" fmla="*/ 373273 h 605239"/>
                <a:gd name="connsiteY224" fmla="*/ 373273 h 605239"/>
                <a:gd name="connsiteX225" fmla="*/ 373273 h 605239"/>
                <a:gd name="connsiteY225" fmla="*/ 373273 h 605239"/>
                <a:gd name="connsiteX226" fmla="*/ 373273 h 605239"/>
                <a:gd name="connsiteY226" fmla="*/ 373273 h 605239"/>
                <a:gd name="connsiteX227" fmla="*/ 373273 h 605239"/>
                <a:gd name="connsiteY227" fmla="*/ 373273 h 605239"/>
                <a:gd name="connsiteX228" fmla="*/ 373273 h 605239"/>
                <a:gd name="connsiteY228" fmla="*/ 373273 h 605239"/>
                <a:gd name="connsiteX229" fmla="*/ 373273 h 605239"/>
                <a:gd name="connsiteY2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</a:cxnLst>
              <a:rect l="l" t="t" r="r" b="b"/>
              <a:pathLst>
                <a:path w="606653" h="604801">
                  <a:moveTo>
                    <a:pt x="303444" y="579962"/>
                  </a:moveTo>
                  <a:cubicBezTo>
                    <a:pt x="310367" y="580055"/>
                    <a:pt x="315887" y="585565"/>
                    <a:pt x="315887" y="592382"/>
                  </a:cubicBezTo>
                  <a:cubicBezTo>
                    <a:pt x="315887" y="599198"/>
                    <a:pt x="310274" y="604801"/>
                    <a:pt x="303444" y="604801"/>
                  </a:cubicBezTo>
                  <a:lnTo>
                    <a:pt x="303163" y="604801"/>
                  </a:lnTo>
                  <a:cubicBezTo>
                    <a:pt x="296427" y="604708"/>
                    <a:pt x="290907" y="599198"/>
                    <a:pt x="290907" y="592382"/>
                  </a:cubicBezTo>
                  <a:cubicBezTo>
                    <a:pt x="290907" y="585565"/>
                    <a:pt x="296520" y="579962"/>
                    <a:pt x="303444" y="579962"/>
                  </a:cubicBezTo>
                  <a:close/>
                  <a:moveTo>
                    <a:pt x="396819" y="561974"/>
                  </a:moveTo>
                  <a:cubicBezTo>
                    <a:pt x="399787" y="563095"/>
                    <a:pt x="402334" y="565337"/>
                    <a:pt x="403783" y="568467"/>
                  </a:cubicBezTo>
                  <a:cubicBezTo>
                    <a:pt x="406493" y="574820"/>
                    <a:pt x="403689" y="582201"/>
                    <a:pt x="397427" y="584910"/>
                  </a:cubicBezTo>
                  <a:cubicBezTo>
                    <a:pt x="395651" y="585657"/>
                    <a:pt x="393969" y="586031"/>
                    <a:pt x="392193" y="586031"/>
                  </a:cubicBezTo>
                  <a:cubicBezTo>
                    <a:pt x="387426" y="586031"/>
                    <a:pt x="382940" y="583322"/>
                    <a:pt x="380977" y="578650"/>
                  </a:cubicBezTo>
                  <a:cubicBezTo>
                    <a:pt x="378267" y="572297"/>
                    <a:pt x="380977" y="565010"/>
                    <a:pt x="387333" y="562207"/>
                  </a:cubicBezTo>
                  <a:cubicBezTo>
                    <a:pt x="390464" y="560853"/>
                    <a:pt x="393852" y="560853"/>
                    <a:pt x="396819" y="561974"/>
                  </a:cubicBezTo>
                  <a:close/>
                  <a:moveTo>
                    <a:pt x="210085" y="561910"/>
                  </a:moveTo>
                  <a:cubicBezTo>
                    <a:pt x="213081" y="560779"/>
                    <a:pt x="216522" y="560779"/>
                    <a:pt x="219658" y="562132"/>
                  </a:cubicBezTo>
                  <a:cubicBezTo>
                    <a:pt x="225837" y="565023"/>
                    <a:pt x="228739" y="572298"/>
                    <a:pt x="226024" y="578640"/>
                  </a:cubicBezTo>
                  <a:cubicBezTo>
                    <a:pt x="223871" y="583303"/>
                    <a:pt x="219283" y="586101"/>
                    <a:pt x="214415" y="586008"/>
                  </a:cubicBezTo>
                  <a:cubicBezTo>
                    <a:pt x="212730" y="585915"/>
                    <a:pt x="211138" y="585635"/>
                    <a:pt x="209547" y="584889"/>
                  </a:cubicBezTo>
                  <a:cubicBezTo>
                    <a:pt x="203181" y="582184"/>
                    <a:pt x="200372" y="574816"/>
                    <a:pt x="203181" y="568474"/>
                  </a:cubicBezTo>
                  <a:cubicBezTo>
                    <a:pt x="204539" y="565303"/>
                    <a:pt x="207090" y="563041"/>
                    <a:pt x="210085" y="561910"/>
                  </a:cubicBezTo>
                  <a:close/>
                  <a:moveTo>
                    <a:pt x="487657" y="525979"/>
                  </a:moveTo>
                  <a:lnTo>
                    <a:pt x="478213" y="553531"/>
                  </a:lnTo>
                  <a:lnTo>
                    <a:pt x="491304" y="552503"/>
                  </a:lnTo>
                  <a:lnTo>
                    <a:pt x="519936" y="587695"/>
                  </a:lnTo>
                  <a:lnTo>
                    <a:pt x="520043" y="588006"/>
                  </a:lnTo>
                  <a:lnTo>
                    <a:pt x="520086" y="587879"/>
                  </a:lnTo>
                  <a:lnTo>
                    <a:pt x="520103" y="587900"/>
                  </a:lnTo>
                  <a:lnTo>
                    <a:pt x="548903" y="552503"/>
                  </a:lnTo>
                  <a:lnTo>
                    <a:pt x="561994" y="553531"/>
                  </a:lnTo>
                  <a:lnTo>
                    <a:pt x="552643" y="525979"/>
                  </a:lnTo>
                  <a:cubicBezTo>
                    <a:pt x="554233" y="527006"/>
                    <a:pt x="555916" y="527847"/>
                    <a:pt x="557599" y="528781"/>
                  </a:cubicBezTo>
                  <a:lnTo>
                    <a:pt x="587147" y="543351"/>
                  </a:lnTo>
                  <a:cubicBezTo>
                    <a:pt x="594908" y="547180"/>
                    <a:pt x="600425" y="554371"/>
                    <a:pt x="601921" y="562870"/>
                  </a:cubicBezTo>
                  <a:lnTo>
                    <a:pt x="606596" y="588927"/>
                  </a:lnTo>
                  <a:cubicBezTo>
                    <a:pt x="606970" y="590795"/>
                    <a:pt x="605474" y="592663"/>
                    <a:pt x="603417" y="592476"/>
                  </a:cubicBezTo>
                  <a:lnTo>
                    <a:pt x="520945" y="592476"/>
                  </a:lnTo>
                  <a:lnTo>
                    <a:pt x="518888" y="592476"/>
                  </a:lnTo>
                  <a:lnTo>
                    <a:pt x="436416" y="592476"/>
                  </a:lnTo>
                  <a:cubicBezTo>
                    <a:pt x="434452" y="592476"/>
                    <a:pt x="432956" y="590608"/>
                    <a:pt x="433330" y="588740"/>
                  </a:cubicBezTo>
                  <a:lnTo>
                    <a:pt x="438099" y="562777"/>
                  </a:lnTo>
                  <a:cubicBezTo>
                    <a:pt x="439595" y="554278"/>
                    <a:pt x="445018" y="547086"/>
                    <a:pt x="452779" y="543164"/>
                  </a:cubicBezTo>
                  <a:lnTo>
                    <a:pt x="481672" y="528968"/>
                  </a:lnTo>
                  <a:close/>
                  <a:moveTo>
                    <a:pt x="54392" y="525909"/>
                  </a:moveTo>
                  <a:lnTo>
                    <a:pt x="44947" y="553451"/>
                  </a:lnTo>
                  <a:lnTo>
                    <a:pt x="58039" y="552424"/>
                  </a:lnTo>
                  <a:lnTo>
                    <a:pt x="86723" y="587660"/>
                  </a:lnTo>
                  <a:lnTo>
                    <a:pt x="86842" y="588006"/>
                  </a:lnTo>
                  <a:lnTo>
                    <a:pt x="86958" y="587666"/>
                  </a:lnTo>
                  <a:lnTo>
                    <a:pt x="115647" y="552424"/>
                  </a:lnTo>
                  <a:lnTo>
                    <a:pt x="128739" y="553451"/>
                  </a:lnTo>
                  <a:lnTo>
                    <a:pt x="119387" y="525909"/>
                  </a:lnTo>
                  <a:cubicBezTo>
                    <a:pt x="120977" y="526936"/>
                    <a:pt x="122567" y="527776"/>
                    <a:pt x="124344" y="528617"/>
                  </a:cubicBezTo>
                  <a:lnTo>
                    <a:pt x="153896" y="543181"/>
                  </a:lnTo>
                  <a:cubicBezTo>
                    <a:pt x="161658" y="547102"/>
                    <a:pt x="167082" y="554291"/>
                    <a:pt x="168578" y="562787"/>
                  </a:cubicBezTo>
                  <a:lnTo>
                    <a:pt x="173254" y="588648"/>
                  </a:lnTo>
                  <a:cubicBezTo>
                    <a:pt x="173628" y="590608"/>
                    <a:pt x="172132" y="592382"/>
                    <a:pt x="170074" y="592382"/>
                  </a:cubicBezTo>
                  <a:lnTo>
                    <a:pt x="87685" y="592382"/>
                  </a:lnTo>
                  <a:lnTo>
                    <a:pt x="85534" y="592382"/>
                  </a:lnTo>
                  <a:lnTo>
                    <a:pt x="3144" y="592382"/>
                  </a:lnTo>
                  <a:cubicBezTo>
                    <a:pt x="1180" y="592382"/>
                    <a:pt x="-316" y="590515"/>
                    <a:pt x="58" y="588648"/>
                  </a:cubicBezTo>
                  <a:lnTo>
                    <a:pt x="4734" y="562600"/>
                  </a:lnTo>
                  <a:cubicBezTo>
                    <a:pt x="6230" y="554197"/>
                    <a:pt x="11748" y="546915"/>
                    <a:pt x="19510" y="543087"/>
                  </a:cubicBezTo>
                  <a:lnTo>
                    <a:pt x="48407" y="528897"/>
                  </a:lnTo>
                  <a:close/>
                  <a:moveTo>
                    <a:pt x="516830" y="390459"/>
                  </a:moveTo>
                  <a:cubicBezTo>
                    <a:pt x="530020" y="390696"/>
                    <a:pt x="536595" y="398577"/>
                    <a:pt x="536595" y="398577"/>
                  </a:cubicBezTo>
                  <a:cubicBezTo>
                    <a:pt x="563621" y="395962"/>
                    <a:pt x="571102" y="425665"/>
                    <a:pt x="567735" y="459291"/>
                  </a:cubicBezTo>
                  <a:cubicBezTo>
                    <a:pt x="564556" y="492918"/>
                    <a:pt x="582978" y="498149"/>
                    <a:pt x="582978" y="498149"/>
                  </a:cubicBezTo>
                  <a:cubicBezTo>
                    <a:pt x="570260" y="511226"/>
                    <a:pt x="543422" y="510291"/>
                    <a:pt x="543422" y="510291"/>
                  </a:cubicBezTo>
                  <a:lnTo>
                    <a:pt x="543422" y="518791"/>
                  </a:lnTo>
                  <a:lnTo>
                    <a:pt x="543422" y="519539"/>
                  </a:lnTo>
                  <a:lnTo>
                    <a:pt x="520086" y="587879"/>
                  </a:lnTo>
                  <a:lnTo>
                    <a:pt x="519936" y="587695"/>
                  </a:lnTo>
                  <a:lnTo>
                    <a:pt x="496478" y="519445"/>
                  </a:lnTo>
                  <a:lnTo>
                    <a:pt x="496478" y="510665"/>
                  </a:lnTo>
                  <a:cubicBezTo>
                    <a:pt x="465525" y="510945"/>
                    <a:pt x="456454" y="497775"/>
                    <a:pt x="456454" y="497775"/>
                  </a:cubicBezTo>
                  <a:cubicBezTo>
                    <a:pt x="456454" y="497775"/>
                    <a:pt x="474128" y="497401"/>
                    <a:pt x="473006" y="450791"/>
                  </a:cubicBezTo>
                  <a:cubicBezTo>
                    <a:pt x="471884" y="404088"/>
                    <a:pt x="493485" y="396335"/>
                    <a:pt x="501434" y="393346"/>
                  </a:cubicBezTo>
                  <a:cubicBezTo>
                    <a:pt x="507302" y="391151"/>
                    <a:pt x="512434" y="390381"/>
                    <a:pt x="516830" y="390459"/>
                  </a:cubicBezTo>
                  <a:close/>
                  <a:moveTo>
                    <a:pt x="83629" y="390459"/>
                  </a:moveTo>
                  <a:cubicBezTo>
                    <a:pt x="88026" y="390538"/>
                    <a:pt x="91688" y="391466"/>
                    <a:pt x="94616" y="392669"/>
                  </a:cubicBezTo>
                  <a:cubicBezTo>
                    <a:pt x="100472" y="395074"/>
                    <a:pt x="103394" y="398577"/>
                    <a:pt x="103394" y="398577"/>
                  </a:cubicBezTo>
                  <a:cubicBezTo>
                    <a:pt x="130420" y="395962"/>
                    <a:pt x="137901" y="425665"/>
                    <a:pt x="134534" y="459291"/>
                  </a:cubicBezTo>
                  <a:cubicBezTo>
                    <a:pt x="131355" y="492918"/>
                    <a:pt x="149777" y="498149"/>
                    <a:pt x="149777" y="498149"/>
                  </a:cubicBezTo>
                  <a:cubicBezTo>
                    <a:pt x="137059" y="511226"/>
                    <a:pt x="110221" y="510291"/>
                    <a:pt x="110221" y="510291"/>
                  </a:cubicBezTo>
                  <a:lnTo>
                    <a:pt x="110221" y="518791"/>
                  </a:lnTo>
                  <a:lnTo>
                    <a:pt x="110221" y="519539"/>
                  </a:lnTo>
                  <a:lnTo>
                    <a:pt x="86958" y="587666"/>
                  </a:lnTo>
                  <a:lnTo>
                    <a:pt x="86843" y="587807"/>
                  </a:lnTo>
                  <a:lnTo>
                    <a:pt x="86723" y="587660"/>
                  </a:lnTo>
                  <a:lnTo>
                    <a:pt x="63277" y="519445"/>
                  </a:lnTo>
                  <a:lnTo>
                    <a:pt x="63277" y="510665"/>
                  </a:lnTo>
                  <a:cubicBezTo>
                    <a:pt x="32324" y="510945"/>
                    <a:pt x="23253" y="497775"/>
                    <a:pt x="23253" y="497775"/>
                  </a:cubicBezTo>
                  <a:cubicBezTo>
                    <a:pt x="23253" y="497775"/>
                    <a:pt x="40927" y="497401"/>
                    <a:pt x="39805" y="450791"/>
                  </a:cubicBezTo>
                  <a:cubicBezTo>
                    <a:pt x="38683" y="404088"/>
                    <a:pt x="60284" y="396335"/>
                    <a:pt x="68233" y="393346"/>
                  </a:cubicBezTo>
                  <a:cubicBezTo>
                    <a:pt x="74101" y="391151"/>
                    <a:pt x="79233" y="390381"/>
                    <a:pt x="83629" y="390459"/>
                  </a:cubicBezTo>
                  <a:close/>
                  <a:moveTo>
                    <a:pt x="519750" y="339093"/>
                  </a:moveTo>
                  <a:cubicBezTo>
                    <a:pt x="526563" y="338346"/>
                    <a:pt x="532724" y="343296"/>
                    <a:pt x="533470" y="350208"/>
                  </a:cubicBezTo>
                  <a:cubicBezTo>
                    <a:pt x="534217" y="357027"/>
                    <a:pt x="529177" y="363098"/>
                    <a:pt x="522363" y="363845"/>
                  </a:cubicBezTo>
                  <a:cubicBezTo>
                    <a:pt x="521897" y="364032"/>
                    <a:pt x="521337" y="364032"/>
                    <a:pt x="520870" y="364032"/>
                  </a:cubicBezTo>
                  <a:cubicBezTo>
                    <a:pt x="514616" y="363845"/>
                    <a:pt x="509389" y="359175"/>
                    <a:pt x="508643" y="352824"/>
                  </a:cubicBezTo>
                  <a:cubicBezTo>
                    <a:pt x="507896" y="345912"/>
                    <a:pt x="512936" y="339840"/>
                    <a:pt x="519750" y="339093"/>
                  </a:cubicBezTo>
                  <a:close/>
                  <a:moveTo>
                    <a:pt x="87387" y="338669"/>
                  </a:moveTo>
                  <a:cubicBezTo>
                    <a:pt x="94300" y="339416"/>
                    <a:pt x="99251" y="345488"/>
                    <a:pt x="98504" y="352307"/>
                  </a:cubicBezTo>
                  <a:lnTo>
                    <a:pt x="98504" y="352587"/>
                  </a:lnTo>
                  <a:lnTo>
                    <a:pt x="98504" y="352681"/>
                  </a:lnTo>
                  <a:cubicBezTo>
                    <a:pt x="97850" y="359219"/>
                    <a:pt x="92245" y="363890"/>
                    <a:pt x="85892" y="363797"/>
                  </a:cubicBezTo>
                  <a:cubicBezTo>
                    <a:pt x="85519" y="363797"/>
                    <a:pt x="85145" y="363703"/>
                    <a:pt x="84771" y="363703"/>
                  </a:cubicBezTo>
                  <a:cubicBezTo>
                    <a:pt x="77952" y="362956"/>
                    <a:pt x="73001" y="356791"/>
                    <a:pt x="73748" y="350065"/>
                  </a:cubicBezTo>
                  <a:lnTo>
                    <a:pt x="73748" y="349972"/>
                  </a:lnTo>
                  <a:lnTo>
                    <a:pt x="73748" y="349692"/>
                  </a:lnTo>
                  <a:cubicBezTo>
                    <a:pt x="74496" y="342873"/>
                    <a:pt x="80568" y="337922"/>
                    <a:pt x="87387" y="338669"/>
                  </a:cubicBezTo>
                  <a:close/>
                  <a:moveTo>
                    <a:pt x="303527" y="336051"/>
                  </a:moveTo>
                  <a:cubicBezTo>
                    <a:pt x="278463" y="336051"/>
                    <a:pt x="258168" y="356410"/>
                    <a:pt x="258261" y="381437"/>
                  </a:cubicBezTo>
                  <a:cubicBezTo>
                    <a:pt x="258355" y="406465"/>
                    <a:pt x="278743" y="426823"/>
                    <a:pt x="303808" y="426636"/>
                  </a:cubicBezTo>
                  <a:cubicBezTo>
                    <a:pt x="328872" y="426543"/>
                    <a:pt x="349074" y="406278"/>
                    <a:pt x="349074" y="381250"/>
                  </a:cubicBezTo>
                  <a:cubicBezTo>
                    <a:pt x="349074" y="356223"/>
                    <a:pt x="328592" y="335865"/>
                    <a:pt x="303527" y="336051"/>
                  </a:cubicBezTo>
                  <a:close/>
                  <a:moveTo>
                    <a:pt x="294642" y="262276"/>
                  </a:moveTo>
                  <a:lnTo>
                    <a:pt x="311757" y="262276"/>
                  </a:lnTo>
                  <a:cubicBezTo>
                    <a:pt x="317369" y="262276"/>
                    <a:pt x="321952" y="266758"/>
                    <a:pt x="321952" y="272362"/>
                  </a:cubicBezTo>
                  <a:lnTo>
                    <a:pt x="321952" y="287957"/>
                  </a:lnTo>
                  <a:cubicBezTo>
                    <a:pt x="334484" y="290479"/>
                    <a:pt x="346081" y="295335"/>
                    <a:pt x="356275" y="302059"/>
                  </a:cubicBezTo>
                  <a:lnTo>
                    <a:pt x="367218" y="290946"/>
                  </a:lnTo>
                  <a:cubicBezTo>
                    <a:pt x="371239" y="287117"/>
                    <a:pt x="377599" y="286930"/>
                    <a:pt x="381621" y="290946"/>
                  </a:cubicBezTo>
                  <a:lnTo>
                    <a:pt x="393685" y="302899"/>
                  </a:lnTo>
                  <a:cubicBezTo>
                    <a:pt x="397520" y="306915"/>
                    <a:pt x="397707" y="313265"/>
                    <a:pt x="393685" y="317187"/>
                  </a:cubicBezTo>
                  <a:lnTo>
                    <a:pt x="382743" y="328300"/>
                  </a:lnTo>
                  <a:cubicBezTo>
                    <a:pt x="389570" y="338386"/>
                    <a:pt x="394527" y="349966"/>
                    <a:pt x="397052" y="362386"/>
                  </a:cubicBezTo>
                  <a:lnTo>
                    <a:pt x="412671" y="362386"/>
                  </a:lnTo>
                  <a:cubicBezTo>
                    <a:pt x="418282" y="362293"/>
                    <a:pt x="422865" y="366869"/>
                    <a:pt x="422865" y="372472"/>
                  </a:cubicBezTo>
                  <a:lnTo>
                    <a:pt x="422865" y="389562"/>
                  </a:lnTo>
                  <a:cubicBezTo>
                    <a:pt x="422865" y="395165"/>
                    <a:pt x="418376" y="399741"/>
                    <a:pt x="412764" y="399741"/>
                  </a:cubicBezTo>
                  <a:lnTo>
                    <a:pt x="397146" y="399741"/>
                  </a:lnTo>
                  <a:cubicBezTo>
                    <a:pt x="394714" y="412255"/>
                    <a:pt x="389851" y="423835"/>
                    <a:pt x="383117" y="434014"/>
                  </a:cubicBezTo>
                  <a:lnTo>
                    <a:pt x="394153" y="444940"/>
                  </a:lnTo>
                  <a:cubicBezTo>
                    <a:pt x="398081" y="448956"/>
                    <a:pt x="398174" y="455306"/>
                    <a:pt x="394153" y="459321"/>
                  </a:cubicBezTo>
                  <a:lnTo>
                    <a:pt x="382182" y="471368"/>
                  </a:lnTo>
                  <a:cubicBezTo>
                    <a:pt x="378254" y="475197"/>
                    <a:pt x="371894" y="475384"/>
                    <a:pt x="367872" y="471368"/>
                  </a:cubicBezTo>
                  <a:lnTo>
                    <a:pt x="356743" y="460442"/>
                  </a:lnTo>
                  <a:cubicBezTo>
                    <a:pt x="346642" y="467259"/>
                    <a:pt x="335045" y="472209"/>
                    <a:pt x="322606" y="474730"/>
                  </a:cubicBezTo>
                  <a:lnTo>
                    <a:pt x="322606" y="490326"/>
                  </a:lnTo>
                  <a:cubicBezTo>
                    <a:pt x="322606" y="495929"/>
                    <a:pt x="318117" y="500505"/>
                    <a:pt x="312506" y="500505"/>
                  </a:cubicBezTo>
                  <a:lnTo>
                    <a:pt x="295391" y="500505"/>
                  </a:lnTo>
                  <a:cubicBezTo>
                    <a:pt x="289779" y="500505"/>
                    <a:pt x="285196" y="496022"/>
                    <a:pt x="285196" y="490419"/>
                  </a:cubicBezTo>
                  <a:lnTo>
                    <a:pt x="285196" y="474824"/>
                  </a:lnTo>
                  <a:cubicBezTo>
                    <a:pt x="272758" y="472396"/>
                    <a:pt x="261160" y="467539"/>
                    <a:pt x="250873" y="460816"/>
                  </a:cubicBezTo>
                  <a:lnTo>
                    <a:pt x="239930" y="471835"/>
                  </a:lnTo>
                  <a:cubicBezTo>
                    <a:pt x="235909" y="475758"/>
                    <a:pt x="229549" y="475851"/>
                    <a:pt x="225621" y="471835"/>
                  </a:cubicBezTo>
                  <a:lnTo>
                    <a:pt x="213463" y="459882"/>
                  </a:lnTo>
                  <a:cubicBezTo>
                    <a:pt x="209628" y="455960"/>
                    <a:pt x="209535" y="449609"/>
                    <a:pt x="213463" y="445594"/>
                  </a:cubicBezTo>
                  <a:lnTo>
                    <a:pt x="224499" y="434481"/>
                  </a:lnTo>
                  <a:cubicBezTo>
                    <a:pt x="217578" y="424395"/>
                    <a:pt x="212621" y="412815"/>
                    <a:pt x="210096" y="400395"/>
                  </a:cubicBezTo>
                  <a:lnTo>
                    <a:pt x="194571" y="400395"/>
                  </a:lnTo>
                  <a:cubicBezTo>
                    <a:pt x="188959" y="400395"/>
                    <a:pt x="184283" y="395912"/>
                    <a:pt x="184283" y="390309"/>
                  </a:cubicBezTo>
                  <a:lnTo>
                    <a:pt x="184283" y="373219"/>
                  </a:lnTo>
                  <a:cubicBezTo>
                    <a:pt x="184283" y="367616"/>
                    <a:pt x="188772" y="363040"/>
                    <a:pt x="194384" y="363040"/>
                  </a:cubicBezTo>
                  <a:lnTo>
                    <a:pt x="210002" y="363040"/>
                  </a:lnTo>
                  <a:cubicBezTo>
                    <a:pt x="212528" y="350620"/>
                    <a:pt x="217391" y="339040"/>
                    <a:pt x="224125" y="328767"/>
                  </a:cubicBezTo>
                  <a:lnTo>
                    <a:pt x="212995" y="317841"/>
                  </a:lnTo>
                  <a:cubicBezTo>
                    <a:pt x="209161" y="313825"/>
                    <a:pt x="208974" y="307475"/>
                    <a:pt x="212995" y="303553"/>
                  </a:cubicBezTo>
                  <a:lnTo>
                    <a:pt x="224966" y="291413"/>
                  </a:lnTo>
                  <a:cubicBezTo>
                    <a:pt x="228988" y="287584"/>
                    <a:pt x="235348" y="287490"/>
                    <a:pt x="239276" y="291413"/>
                  </a:cubicBezTo>
                  <a:lnTo>
                    <a:pt x="250405" y="302432"/>
                  </a:lnTo>
                  <a:cubicBezTo>
                    <a:pt x="260506" y="295522"/>
                    <a:pt x="272103" y="290572"/>
                    <a:pt x="284542" y="288051"/>
                  </a:cubicBezTo>
                  <a:lnTo>
                    <a:pt x="284542" y="272548"/>
                  </a:lnTo>
                  <a:cubicBezTo>
                    <a:pt x="284542" y="266945"/>
                    <a:pt x="289031" y="262276"/>
                    <a:pt x="294642" y="262276"/>
                  </a:cubicBezTo>
                  <a:close/>
                  <a:moveTo>
                    <a:pt x="496422" y="252996"/>
                  </a:moveTo>
                  <a:cubicBezTo>
                    <a:pt x="499521" y="253814"/>
                    <a:pt x="502304" y="255801"/>
                    <a:pt x="504034" y="258793"/>
                  </a:cubicBezTo>
                  <a:cubicBezTo>
                    <a:pt x="507402" y="264778"/>
                    <a:pt x="505438" y="272539"/>
                    <a:pt x="499451" y="275906"/>
                  </a:cubicBezTo>
                  <a:cubicBezTo>
                    <a:pt x="497299" y="277121"/>
                    <a:pt x="495147" y="277589"/>
                    <a:pt x="492902" y="277589"/>
                  </a:cubicBezTo>
                  <a:cubicBezTo>
                    <a:pt x="488693" y="277589"/>
                    <a:pt x="484577" y="275345"/>
                    <a:pt x="482332" y="271230"/>
                  </a:cubicBezTo>
                  <a:cubicBezTo>
                    <a:pt x="478964" y="265246"/>
                    <a:pt x="480928" y="257578"/>
                    <a:pt x="486915" y="254211"/>
                  </a:cubicBezTo>
                  <a:cubicBezTo>
                    <a:pt x="489909" y="252528"/>
                    <a:pt x="493323" y="252177"/>
                    <a:pt x="496422" y="252996"/>
                  </a:cubicBezTo>
                  <a:close/>
                  <a:moveTo>
                    <a:pt x="111114" y="252369"/>
                  </a:moveTo>
                  <a:cubicBezTo>
                    <a:pt x="114201" y="251564"/>
                    <a:pt x="117593" y="251937"/>
                    <a:pt x="120586" y="253664"/>
                  </a:cubicBezTo>
                  <a:cubicBezTo>
                    <a:pt x="126479" y="257211"/>
                    <a:pt x="128537" y="264773"/>
                    <a:pt x="125076" y="270747"/>
                  </a:cubicBezTo>
                  <a:cubicBezTo>
                    <a:pt x="122737" y="274855"/>
                    <a:pt x="118434" y="277095"/>
                    <a:pt x="114131" y="277002"/>
                  </a:cubicBezTo>
                  <a:cubicBezTo>
                    <a:pt x="112073" y="276815"/>
                    <a:pt x="110015" y="276348"/>
                    <a:pt x="108144" y="275228"/>
                  </a:cubicBezTo>
                  <a:cubicBezTo>
                    <a:pt x="102157" y="271867"/>
                    <a:pt x="100099" y="264119"/>
                    <a:pt x="103467" y="258145"/>
                  </a:cubicBezTo>
                  <a:cubicBezTo>
                    <a:pt x="105244" y="255158"/>
                    <a:pt x="108027" y="253174"/>
                    <a:pt x="111114" y="252369"/>
                  </a:cubicBezTo>
                  <a:close/>
                  <a:moveTo>
                    <a:pt x="430367" y="185201"/>
                  </a:moveTo>
                  <a:cubicBezTo>
                    <a:pt x="433524" y="184712"/>
                    <a:pt x="436869" y="185434"/>
                    <a:pt x="439675" y="187484"/>
                  </a:cubicBezTo>
                  <a:cubicBezTo>
                    <a:pt x="445288" y="191584"/>
                    <a:pt x="446504" y="199319"/>
                    <a:pt x="442388" y="204910"/>
                  </a:cubicBezTo>
                  <a:cubicBezTo>
                    <a:pt x="439956" y="208357"/>
                    <a:pt x="436027" y="210128"/>
                    <a:pt x="432098" y="209942"/>
                  </a:cubicBezTo>
                  <a:cubicBezTo>
                    <a:pt x="429572" y="209942"/>
                    <a:pt x="427046" y="209196"/>
                    <a:pt x="424988" y="207612"/>
                  </a:cubicBezTo>
                  <a:cubicBezTo>
                    <a:pt x="419376" y="203512"/>
                    <a:pt x="418066" y="195777"/>
                    <a:pt x="422182" y="190186"/>
                  </a:cubicBezTo>
                  <a:cubicBezTo>
                    <a:pt x="424240" y="187391"/>
                    <a:pt x="427210" y="185690"/>
                    <a:pt x="430367" y="185201"/>
                  </a:cubicBezTo>
                  <a:close/>
                  <a:moveTo>
                    <a:pt x="177321" y="184967"/>
                  </a:moveTo>
                  <a:cubicBezTo>
                    <a:pt x="180478" y="185480"/>
                    <a:pt x="183425" y="187206"/>
                    <a:pt x="185389" y="190004"/>
                  </a:cubicBezTo>
                  <a:cubicBezTo>
                    <a:pt x="189505" y="195413"/>
                    <a:pt x="188289" y="203247"/>
                    <a:pt x="182676" y="207351"/>
                  </a:cubicBezTo>
                  <a:cubicBezTo>
                    <a:pt x="180431" y="209030"/>
                    <a:pt x="177812" y="209776"/>
                    <a:pt x="175192" y="209776"/>
                  </a:cubicBezTo>
                  <a:cubicBezTo>
                    <a:pt x="171357" y="209776"/>
                    <a:pt x="167615" y="208004"/>
                    <a:pt x="165183" y="204646"/>
                  </a:cubicBezTo>
                  <a:cubicBezTo>
                    <a:pt x="161067" y="199050"/>
                    <a:pt x="162377" y="191216"/>
                    <a:pt x="167989" y="187206"/>
                  </a:cubicBezTo>
                  <a:cubicBezTo>
                    <a:pt x="170796" y="185154"/>
                    <a:pt x="174163" y="184454"/>
                    <a:pt x="177321" y="184967"/>
                  </a:cubicBezTo>
                  <a:close/>
                  <a:moveTo>
                    <a:pt x="270896" y="135470"/>
                  </a:moveTo>
                  <a:lnTo>
                    <a:pt x="261360" y="162908"/>
                  </a:lnTo>
                  <a:lnTo>
                    <a:pt x="274449" y="161975"/>
                  </a:lnTo>
                  <a:lnTo>
                    <a:pt x="303074" y="197044"/>
                  </a:lnTo>
                  <a:lnTo>
                    <a:pt x="303254" y="197568"/>
                  </a:lnTo>
                  <a:lnTo>
                    <a:pt x="303447" y="197006"/>
                  </a:lnTo>
                  <a:lnTo>
                    <a:pt x="332041" y="161975"/>
                  </a:lnTo>
                  <a:lnTo>
                    <a:pt x="345130" y="162908"/>
                  </a:lnTo>
                  <a:lnTo>
                    <a:pt x="335780" y="135470"/>
                  </a:lnTo>
                  <a:cubicBezTo>
                    <a:pt x="337463" y="136403"/>
                    <a:pt x="339052" y="137337"/>
                    <a:pt x="340829" y="138176"/>
                  </a:cubicBezTo>
                  <a:lnTo>
                    <a:pt x="370373" y="152736"/>
                  </a:lnTo>
                  <a:cubicBezTo>
                    <a:pt x="378039" y="156562"/>
                    <a:pt x="383555" y="163842"/>
                    <a:pt x="385051" y="172241"/>
                  </a:cubicBezTo>
                  <a:lnTo>
                    <a:pt x="389819" y="198280"/>
                  </a:lnTo>
                  <a:cubicBezTo>
                    <a:pt x="390193" y="200240"/>
                    <a:pt x="388697" y="202013"/>
                    <a:pt x="386640" y="202013"/>
                  </a:cubicBezTo>
                  <a:lnTo>
                    <a:pt x="304273" y="202013"/>
                  </a:lnTo>
                  <a:lnTo>
                    <a:pt x="302123" y="202013"/>
                  </a:lnTo>
                  <a:lnTo>
                    <a:pt x="219756" y="202013"/>
                  </a:lnTo>
                  <a:cubicBezTo>
                    <a:pt x="217886" y="202013"/>
                    <a:pt x="216390" y="200240"/>
                    <a:pt x="216483" y="198186"/>
                  </a:cubicBezTo>
                  <a:lnTo>
                    <a:pt x="221252" y="172148"/>
                  </a:lnTo>
                  <a:cubicBezTo>
                    <a:pt x="222748" y="163655"/>
                    <a:pt x="228264" y="156469"/>
                    <a:pt x="235930" y="152642"/>
                  </a:cubicBezTo>
                  <a:lnTo>
                    <a:pt x="264913" y="138456"/>
                  </a:lnTo>
                  <a:close/>
                  <a:moveTo>
                    <a:pt x="300096" y="4"/>
                  </a:moveTo>
                  <a:cubicBezTo>
                    <a:pt x="313270" y="227"/>
                    <a:pt x="319897" y="8160"/>
                    <a:pt x="319897" y="8160"/>
                  </a:cubicBezTo>
                  <a:cubicBezTo>
                    <a:pt x="346917" y="5545"/>
                    <a:pt x="354397" y="35151"/>
                    <a:pt x="351031" y="68774"/>
                  </a:cubicBezTo>
                  <a:cubicBezTo>
                    <a:pt x="347759" y="102397"/>
                    <a:pt x="366271" y="107627"/>
                    <a:pt x="366271" y="107627"/>
                  </a:cubicBezTo>
                  <a:cubicBezTo>
                    <a:pt x="353556" y="120703"/>
                    <a:pt x="326722" y="119862"/>
                    <a:pt x="326722" y="119862"/>
                  </a:cubicBezTo>
                  <a:lnTo>
                    <a:pt x="326722" y="128361"/>
                  </a:lnTo>
                  <a:lnTo>
                    <a:pt x="326722" y="129108"/>
                  </a:lnTo>
                  <a:lnTo>
                    <a:pt x="303447" y="197006"/>
                  </a:lnTo>
                  <a:lnTo>
                    <a:pt x="303245" y="197253"/>
                  </a:lnTo>
                  <a:lnTo>
                    <a:pt x="303074" y="197044"/>
                  </a:lnTo>
                  <a:lnTo>
                    <a:pt x="279693" y="128921"/>
                  </a:lnTo>
                  <a:lnTo>
                    <a:pt x="279693" y="120236"/>
                  </a:lnTo>
                  <a:cubicBezTo>
                    <a:pt x="248840" y="120516"/>
                    <a:pt x="239677" y="107254"/>
                    <a:pt x="239677" y="107254"/>
                  </a:cubicBezTo>
                  <a:cubicBezTo>
                    <a:pt x="239677" y="107254"/>
                    <a:pt x="257441" y="106880"/>
                    <a:pt x="256319" y="60368"/>
                  </a:cubicBezTo>
                  <a:cubicBezTo>
                    <a:pt x="255197" y="13670"/>
                    <a:pt x="276702" y="5918"/>
                    <a:pt x="284742" y="2930"/>
                  </a:cubicBezTo>
                  <a:cubicBezTo>
                    <a:pt x="290586" y="711"/>
                    <a:pt x="295704" y="-71"/>
                    <a:pt x="300096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networking_126300"/>
            <p:cNvSpPr>
              <a:spLocks noChangeAspect="1"/>
            </p:cNvSpPr>
            <p:nvPr/>
          </p:nvSpPr>
          <p:spPr bwMode="auto">
            <a:xfrm>
              <a:off x="8604406" y="5220532"/>
              <a:ext cx="335277" cy="330378"/>
            </a:xfrm>
            <a:custGeom>
              <a:avLst/>
              <a:gdLst>
                <a:gd name="connsiteX0" fmla="*/ 450937 w 608415"/>
                <a:gd name="connsiteY0" fmla="*/ 431207 h 599524"/>
                <a:gd name="connsiteX1" fmla="*/ 465072 w 608415"/>
                <a:gd name="connsiteY1" fmla="*/ 434276 h 599524"/>
                <a:gd name="connsiteX2" fmla="*/ 500562 w 608415"/>
                <a:gd name="connsiteY2" fmla="*/ 466344 h 599524"/>
                <a:gd name="connsiteX3" fmla="*/ 536052 w 608415"/>
                <a:gd name="connsiteY3" fmla="*/ 434276 h 599524"/>
                <a:gd name="connsiteX4" fmla="*/ 550187 w 608415"/>
                <a:gd name="connsiteY4" fmla="*/ 431207 h 599524"/>
                <a:gd name="connsiteX5" fmla="*/ 566626 w 608415"/>
                <a:gd name="connsiteY5" fmla="*/ 436271 h 599524"/>
                <a:gd name="connsiteX6" fmla="*/ 566933 w 608415"/>
                <a:gd name="connsiteY6" fmla="*/ 436271 h 599524"/>
                <a:gd name="connsiteX7" fmla="*/ 608415 w 608415"/>
                <a:gd name="connsiteY7" fmla="*/ 493808 h 599524"/>
                <a:gd name="connsiteX8" fmla="*/ 608415 w 608415"/>
                <a:gd name="connsiteY8" fmla="*/ 584794 h 599524"/>
                <a:gd name="connsiteX9" fmla="*/ 593666 w 608415"/>
                <a:gd name="connsiteY9" fmla="*/ 599524 h 599524"/>
                <a:gd name="connsiteX10" fmla="*/ 407304 w 608415"/>
                <a:gd name="connsiteY10" fmla="*/ 599524 h 599524"/>
                <a:gd name="connsiteX11" fmla="*/ 392555 w 608415"/>
                <a:gd name="connsiteY11" fmla="*/ 584794 h 599524"/>
                <a:gd name="connsiteX12" fmla="*/ 392555 w 608415"/>
                <a:gd name="connsiteY12" fmla="*/ 493808 h 599524"/>
                <a:gd name="connsiteX13" fmla="*/ 434191 w 608415"/>
                <a:gd name="connsiteY13" fmla="*/ 436271 h 599524"/>
                <a:gd name="connsiteX14" fmla="*/ 434498 w 608415"/>
                <a:gd name="connsiteY14" fmla="*/ 436271 h 599524"/>
                <a:gd name="connsiteX15" fmla="*/ 58228 w 608415"/>
                <a:gd name="connsiteY15" fmla="*/ 431207 h 599524"/>
                <a:gd name="connsiteX16" fmla="*/ 72363 w 608415"/>
                <a:gd name="connsiteY16" fmla="*/ 434276 h 599524"/>
                <a:gd name="connsiteX17" fmla="*/ 107853 w 608415"/>
                <a:gd name="connsiteY17" fmla="*/ 466344 h 599524"/>
                <a:gd name="connsiteX18" fmla="*/ 143343 w 608415"/>
                <a:gd name="connsiteY18" fmla="*/ 434276 h 599524"/>
                <a:gd name="connsiteX19" fmla="*/ 157478 w 608415"/>
                <a:gd name="connsiteY19" fmla="*/ 431207 h 599524"/>
                <a:gd name="connsiteX20" fmla="*/ 173917 w 608415"/>
                <a:gd name="connsiteY20" fmla="*/ 436271 h 599524"/>
                <a:gd name="connsiteX21" fmla="*/ 174224 w 608415"/>
                <a:gd name="connsiteY21" fmla="*/ 436271 h 599524"/>
                <a:gd name="connsiteX22" fmla="*/ 215860 w 608415"/>
                <a:gd name="connsiteY22" fmla="*/ 493808 h 599524"/>
                <a:gd name="connsiteX23" fmla="*/ 215860 w 608415"/>
                <a:gd name="connsiteY23" fmla="*/ 584794 h 599524"/>
                <a:gd name="connsiteX24" fmla="*/ 201111 w 608415"/>
                <a:gd name="connsiteY24" fmla="*/ 599524 h 599524"/>
                <a:gd name="connsiteX25" fmla="*/ 14749 w 608415"/>
                <a:gd name="connsiteY25" fmla="*/ 599524 h 599524"/>
                <a:gd name="connsiteX26" fmla="*/ 0 w 608415"/>
                <a:gd name="connsiteY26" fmla="*/ 584794 h 599524"/>
                <a:gd name="connsiteX27" fmla="*/ 0 w 608415"/>
                <a:gd name="connsiteY27" fmla="*/ 493808 h 599524"/>
                <a:gd name="connsiteX28" fmla="*/ 41482 w 608415"/>
                <a:gd name="connsiteY28" fmla="*/ 436271 h 599524"/>
                <a:gd name="connsiteX29" fmla="*/ 58228 w 608415"/>
                <a:gd name="connsiteY29" fmla="*/ 431207 h 599524"/>
                <a:gd name="connsiteX30" fmla="*/ 500592 w 608415"/>
                <a:gd name="connsiteY30" fmla="*/ 298704 h 599524"/>
                <a:gd name="connsiteX31" fmla="*/ 561914 w 608415"/>
                <a:gd name="connsiteY31" fmla="*/ 359920 h 599524"/>
                <a:gd name="connsiteX32" fmla="*/ 500592 w 608415"/>
                <a:gd name="connsiteY32" fmla="*/ 421136 h 599524"/>
                <a:gd name="connsiteX33" fmla="*/ 439270 w 608415"/>
                <a:gd name="connsiteY33" fmla="*/ 359920 h 599524"/>
                <a:gd name="connsiteX34" fmla="*/ 500592 w 608415"/>
                <a:gd name="connsiteY34" fmla="*/ 298704 h 599524"/>
                <a:gd name="connsiteX35" fmla="*/ 107859 w 608415"/>
                <a:gd name="connsiteY35" fmla="*/ 298704 h 599524"/>
                <a:gd name="connsiteX36" fmla="*/ 169145 w 608415"/>
                <a:gd name="connsiteY36" fmla="*/ 359920 h 599524"/>
                <a:gd name="connsiteX37" fmla="*/ 107859 w 608415"/>
                <a:gd name="connsiteY37" fmla="*/ 421136 h 599524"/>
                <a:gd name="connsiteX38" fmla="*/ 46573 w 608415"/>
                <a:gd name="connsiteY38" fmla="*/ 359920 h 599524"/>
                <a:gd name="connsiteX39" fmla="*/ 107859 w 608415"/>
                <a:gd name="connsiteY39" fmla="*/ 298704 h 599524"/>
                <a:gd name="connsiteX40" fmla="*/ 259823 w 608415"/>
                <a:gd name="connsiteY40" fmla="*/ 137299 h 599524"/>
                <a:gd name="connsiteX41" fmla="*/ 264585 w 608415"/>
                <a:gd name="connsiteY41" fmla="*/ 140674 h 599524"/>
                <a:gd name="connsiteX42" fmla="*/ 299152 w 608415"/>
                <a:gd name="connsiteY42" fmla="*/ 235187 h 599524"/>
                <a:gd name="connsiteX43" fmla="*/ 310827 w 608415"/>
                <a:gd name="connsiteY43" fmla="*/ 235187 h 599524"/>
                <a:gd name="connsiteX44" fmla="*/ 345240 w 608415"/>
                <a:gd name="connsiteY44" fmla="*/ 140674 h 599524"/>
                <a:gd name="connsiteX45" fmla="*/ 351538 w 608415"/>
                <a:gd name="connsiteY45" fmla="*/ 137606 h 599524"/>
                <a:gd name="connsiteX46" fmla="*/ 381956 w 608415"/>
                <a:gd name="connsiteY46" fmla="*/ 142515 h 599524"/>
                <a:gd name="connsiteX47" fmla="*/ 381956 w 608415"/>
                <a:gd name="connsiteY47" fmla="*/ 142669 h 599524"/>
                <a:gd name="connsiteX48" fmla="*/ 416829 w 608415"/>
                <a:gd name="connsiteY48" fmla="*/ 190539 h 599524"/>
                <a:gd name="connsiteX49" fmla="*/ 416829 w 608415"/>
                <a:gd name="connsiteY49" fmla="*/ 269402 h 599524"/>
                <a:gd name="connsiteX50" fmla="*/ 395475 w 608415"/>
                <a:gd name="connsiteY50" fmla="*/ 290729 h 599524"/>
                <a:gd name="connsiteX51" fmla="*/ 214350 w 608415"/>
                <a:gd name="connsiteY51" fmla="*/ 290729 h 599524"/>
                <a:gd name="connsiteX52" fmla="*/ 192996 w 608415"/>
                <a:gd name="connsiteY52" fmla="*/ 269402 h 599524"/>
                <a:gd name="connsiteX53" fmla="*/ 192996 w 608415"/>
                <a:gd name="connsiteY53" fmla="*/ 190846 h 599524"/>
                <a:gd name="connsiteX54" fmla="*/ 227869 w 608415"/>
                <a:gd name="connsiteY54" fmla="*/ 142515 h 599524"/>
                <a:gd name="connsiteX55" fmla="*/ 259823 w 608415"/>
                <a:gd name="connsiteY55" fmla="*/ 137299 h 599524"/>
                <a:gd name="connsiteX56" fmla="*/ 296840 w 608415"/>
                <a:gd name="connsiteY56" fmla="*/ 136191 h 599524"/>
                <a:gd name="connsiteX57" fmla="*/ 311576 w 608415"/>
                <a:gd name="connsiteY57" fmla="*/ 136191 h 599524"/>
                <a:gd name="connsiteX58" fmla="*/ 316795 w 608415"/>
                <a:gd name="connsiteY58" fmla="*/ 138339 h 599524"/>
                <a:gd name="connsiteX59" fmla="*/ 317562 w 608415"/>
                <a:gd name="connsiteY59" fmla="*/ 146317 h 599524"/>
                <a:gd name="connsiteX60" fmla="*/ 309887 w 608415"/>
                <a:gd name="connsiteY60" fmla="*/ 158131 h 599524"/>
                <a:gd name="connsiteX61" fmla="*/ 313418 w 608415"/>
                <a:gd name="connsiteY61" fmla="*/ 188971 h 599524"/>
                <a:gd name="connsiteX62" fmla="*/ 306203 w 608415"/>
                <a:gd name="connsiteY62" fmla="*/ 208149 h 599524"/>
                <a:gd name="connsiteX63" fmla="*/ 302212 w 608415"/>
                <a:gd name="connsiteY63" fmla="*/ 208149 h 599524"/>
                <a:gd name="connsiteX64" fmla="*/ 294998 w 608415"/>
                <a:gd name="connsiteY64" fmla="*/ 188971 h 599524"/>
                <a:gd name="connsiteX65" fmla="*/ 298528 w 608415"/>
                <a:gd name="connsiteY65" fmla="*/ 158131 h 599524"/>
                <a:gd name="connsiteX66" fmla="*/ 290853 w 608415"/>
                <a:gd name="connsiteY66" fmla="*/ 146317 h 599524"/>
                <a:gd name="connsiteX67" fmla="*/ 291621 w 608415"/>
                <a:gd name="connsiteY67" fmla="*/ 138339 h 599524"/>
                <a:gd name="connsiteX68" fmla="*/ 296840 w 608415"/>
                <a:gd name="connsiteY68" fmla="*/ 136191 h 599524"/>
                <a:gd name="connsiteX69" fmla="*/ 499462 w 608415"/>
                <a:gd name="connsiteY69" fmla="*/ 102326 h 599524"/>
                <a:gd name="connsiteX70" fmla="*/ 510259 w 608415"/>
                <a:gd name="connsiteY70" fmla="*/ 107696 h 599524"/>
                <a:gd name="connsiteX71" fmla="*/ 548990 w 608415"/>
                <a:gd name="connsiteY71" fmla="*/ 199288 h 599524"/>
                <a:gd name="connsiteX72" fmla="*/ 566203 w 608415"/>
                <a:gd name="connsiteY72" fmla="*/ 201743 h 599524"/>
                <a:gd name="connsiteX73" fmla="*/ 567587 w 608415"/>
                <a:gd name="connsiteY73" fmla="*/ 223836 h 599524"/>
                <a:gd name="connsiteX74" fmla="*/ 546069 w 608415"/>
                <a:gd name="connsiteY74" fmla="*/ 248383 h 599524"/>
                <a:gd name="connsiteX75" fmla="*/ 534235 w 608415"/>
                <a:gd name="connsiteY75" fmla="*/ 253753 h 599524"/>
                <a:gd name="connsiteX76" fmla="*/ 522401 w 608415"/>
                <a:gd name="connsiteY76" fmla="*/ 248383 h 599524"/>
                <a:gd name="connsiteX77" fmla="*/ 500883 w 608415"/>
                <a:gd name="connsiteY77" fmla="*/ 223836 h 599524"/>
                <a:gd name="connsiteX78" fmla="*/ 502420 w 608415"/>
                <a:gd name="connsiteY78" fmla="*/ 201743 h 599524"/>
                <a:gd name="connsiteX79" fmla="*/ 517329 w 608415"/>
                <a:gd name="connsiteY79" fmla="*/ 198521 h 599524"/>
                <a:gd name="connsiteX80" fmla="*/ 486590 w 608415"/>
                <a:gd name="connsiteY80" fmla="*/ 128408 h 599524"/>
                <a:gd name="connsiteX81" fmla="*/ 487973 w 608415"/>
                <a:gd name="connsiteY81" fmla="*/ 106162 h 599524"/>
                <a:gd name="connsiteX82" fmla="*/ 499462 w 608415"/>
                <a:gd name="connsiteY82" fmla="*/ 102326 h 599524"/>
                <a:gd name="connsiteX83" fmla="*/ 110422 w 608415"/>
                <a:gd name="connsiteY83" fmla="*/ 102326 h 599524"/>
                <a:gd name="connsiteX84" fmla="*/ 121853 w 608415"/>
                <a:gd name="connsiteY84" fmla="*/ 106162 h 599524"/>
                <a:gd name="connsiteX85" fmla="*/ 123236 w 608415"/>
                <a:gd name="connsiteY85" fmla="*/ 128408 h 599524"/>
                <a:gd name="connsiteX86" fmla="*/ 92497 w 608415"/>
                <a:gd name="connsiteY86" fmla="*/ 198521 h 599524"/>
                <a:gd name="connsiteX87" fmla="*/ 107406 w 608415"/>
                <a:gd name="connsiteY87" fmla="*/ 201743 h 599524"/>
                <a:gd name="connsiteX88" fmla="*/ 108943 w 608415"/>
                <a:gd name="connsiteY88" fmla="*/ 223836 h 599524"/>
                <a:gd name="connsiteX89" fmla="*/ 87425 w 608415"/>
                <a:gd name="connsiteY89" fmla="*/ 248383 h 599524"/>
                <a:gd name="connsiteX90" fmla="*/ 75591 w 608415"/>
                <a:gd name="connsiteY90" fmla="*/ 253753 h 599524"/>
                <a:gd name="connsiteX91" fmla="*/ 63757 w 608415"/>
                <a:gd name="connsiteY91" fmla="*/ 248383 h 599524"/>
                <a:gd name="connsiteX92" fmla="*/ 42239 w 608415"/>
                <a:gd name="connsiteY92" fmla="*/ 223836 h 599524"/>
                <a:gd name="connsiteX93" fmla="*/ 43623 w 608415"/>
                <a:gd name="connsiteY93" fmla="*/ 201743 h 599524"/>
                <a:gd name="connsiteX94" fmla="*/ 60836 w 608415"/>
                <a:gd name="connsiteY94" fmla="*/ 199288 h 599524"/>
                <a:gd name="connsiteX95" fmla="*/ 99567 w 608415"/>
                <a:gd name="connsiteY95" fmla="*/ 107696 h 599524"/>
                <a:gd name="connsiteX96" fmla="*/ 110422 w 608415"/>
                <a:gd name="connsiteY96" fmla="*/ 102326 h 599524"/>
                <a:gd name="connsiteX97" fmla="*/ 304983 w 608415"/>
                <a:gd name="connsiteY97" fmla="*/ 0 h 599524"/>
                <a:gd name="connsiteX98" fmla="*/ 362423 w 608415"/>
                <a:gd name="connsiteY98" fmla="*/ 57370 h 599524"/>
                <a:gd name="connsiteX99" fmla="*/ 304983 w 608415"/>
                <a:gd name="connsiteY99" fmla="*/ 114740 h 599524"/>
                <a:gd name="connsiteX100" fmla="*/ 247543 w 608415"/>
                <a:gd name="connsiteY100" fmla="*/ 57370 h 599524"/>
                <a:gd name="connsiteX101" fmla="*/ 304983 w 608415"/>
                <a:gd name="connsiteY101" fmla="*/ 0 h 599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608415" h="599524">
                  <a:moveTo>
                    <a:pt x="450937" y="431207"/>
                  </a:moveTo>
                  <a:cubicBezTo>
                    <a:pt x="455854" y="429673"/>
                    <a:pt x="461231" y="430900"/>
                    <a:pt x="465072" y="434276"/>
                  </a:cubicBezTo>
                  <a:lnTo>
                    <a:pt x="500562" y="466344"/>
                  </a:lnTo>
                  <a:lnTo>
                    <a:pt x="536052" y="434276"/>
                  </a:lnTo>
                  <a:cubicBezTo>
                    <a:pt x="539739" y="430900"/>
                    <a:pt x="545117" y="429673"/>
                    <a:pt x="550187" y="431207"/>
                  </a:cubicBezTo>
                  <a:lnTo>
                    <a:pt x="566626" y="436271"/>
                  </a:lnTo>
                  <a:cubicBezTo>
                    <a:pt x="566626" y="436271"/>
                    <a:pt x="566780" y="436271"/>
                    <a:pt x="566933" y="436271"/>
                  </a:cubicBezTo>
                  <a:cubicBezTo>
                    <a:pt x="591669" y="444556"/>
                    <a:pt x="608415" y="467725"/>
                    <a:pt x="608415" y="493808"/>
                  </a:cubicBezTo>
                  <a:lnTo>
                    <a:pt x="608415" y="584794"/>
                  </a:lnTo>
                  <a:cubicBezTo>
                    <a:pt x="608415" y="592926"/>
                    <a:pt x="601809" y="599524"/>
                    <a:pt x="593666" y="599524"/>
                  </a:cubicBezTo>
                  <a:lnTo>
                    <a:pt x="407304" y="599524"/>
                  </a:lnTo>
                  <a:cubicBezTo>
                    <a:pt x="399162" y="599524"/>
                    <a:pt x="392555" y="592926"/>
                    <a:pt x="392555" y="584794"/>
                  </a:cubicBezTo>
                  <a:lnTo>
                    <a:pt x="392555" y="493808"/>
                  </a:lnTo>
                  <a:cubicBezTo>
                    <a:pt x="392555" y="467725"/>
                    <a:pt x="409302" y="444556"/>
                    <a:pt x="434191" y="436271"/>
                  </a:cubicBezTo>
                  <a:cubicBezTo>
                    <a:pt x="434191" y="436271"/>
                    <a:pt x="434345" y="436271"/>
                    <a:pt x="434498" y="436271"/>
                  </a:cubicBezTo>
                  <a:close/>
                  <a:moveTo>
                    <a:pt x="58228" y="431207"/>
                  </a:moveTo>
                  <a:cubicBezTo>
                    <a:pt x="63298" y="429673"/>
                    <a:pt x="68675" y="430900"/>
                    <a:pt x="72363" y="434276"/>
                  </a:cubicBezTo>
                  <a:lnTo>
                    <a:pt x="107853" y="466344"/>
                  </a:lnTo>
                  <a:lnTo>
                    <a:pt x="143343" y="434276"/>
                  </a:lnTo>
                  <a:cubicBezTo>
                    <a:pt x="147184" y="430900"/>
                    <a:pt x="152561" y="429673"/>
                    <a:pt x="157478" y="431207"/>
                  </a:cubicBezTo>
                  <a:lnTo>
                    <a:pt x="173917" y="436271"/>
                  </a:lnTo>
                  <a:cubicBezTo>
                    <a:pt x="174070" y="436271"/>
                    <a:pt x="174224" y="436271"/>
                    <a:pt x="174224" y="436271"/>
                  </a:cubicBezTo>
                  <a:cubicBezTo>
                    <a:pt x="199113" y="444556"/>
                    <a:pt x="215860" y="467725"/>
                    <a:pt x="215860" y="493808"/>
                  </a:cubicBezTo>
                  <a:lnTo>
                    <a:pt x="215860" y="584794"/>
                  </a:lnTo>
                  <a:cubicBezTo>
                    <a:pt x="215860" y="592926"/>
                    <a:pt x="209253" y="599524"/>
                    <a:pt x="201111" y="599524"/>
                  </a:cubicBezTo>
                  <a:lnTo>
                    <a:pt x="14749" y="599524"/>
                  </a:lnTo>
                  <a:cubicBezTo>
                    <a:pt x="6606" y="599524"/>
                    <a:pt x="0" y="592926"/>
                    <a:pt x="0" y="584794"/>
                  </a:cubicBezTo>
                  <a:lnTo>
                    <a:pt x="0" y="493808"/>
                  </a:lnTo>
                  <a:cubicBezTo>
                    <a:pt x="0" y="467725"/>
                    <a:pt x="16746" y="444556"/>
                    <a:pt x="41482" y="436271"/>
                  </a:cubicBezTo>
                  <a:cubicBezTo>
                    <a:pt x="41635" y="436271"/>
                    <a:pt x="58228" y="431207"/>
                    <a:pt x="58228" y="431207"/>
                  </a:cubicBezTo>
                  <a:close/>
                  <a:moveTo>
                    <a:pt x="500592" y="298704"/>
                  </a:moveTo>
                  <a:cubicBezTo>
                    <a:pt x="534459" y="298704"/>
                    <a:pt x="561914" y="326111"/>
                    <a:pt x="561914" y="359920"/>
                  </a:cubicBezTo>
                  <a:cubicBezTo>
                    <a:pt x="561914" y="393729"/>
                    <a:pt x="534459" y="421136"/>
                    <a:pt x="500592" y="421136"/>
                  </a:cubicBezTo>
                  <a:cubicBezTo>
                    <a:pt x="466725" y="421136"/>
                    <a:pt x="439270" y="393729"/>
                    <a:pt x="439270" y="359920"/>
                  </a:cubicBezTo>
                  <a:cubicBezTo>
                    <a:pt x="439270" y="326111"/>
                    <a:pt x="466725" y="298704"/>
                    <a:pt x="500592" y="298704"/>
                  </a:cubicBezTo>
                  <a:close/>
                  <a:moveTo>
                    <a:pt x="107859" y="298704"/>
                  </a:moveTo>
                  <a:cubicBezTo>
                    <a:pt x="141706" y="298704"/>
                    <a:pt x="169145" y="326111"/>
                    <a:pt x="169145" y="359920"/>
                  </a:cubicBezTo>
                  <a:cubicBezTo>
                    <a:pt x="169145" y="393729"/>
                    <a:pt x="141706" y="421136"/>
                    <a:pt x="107859" y="421136"/>
                  </a:cubicBezTo>
                  <a:cubicBezTo>
                    <a:pt x="74012" y="421136"/>
                    <a:pt x="46573" y="393729"/>
                    <a:pt x="46573" y="359920"/>
                  </a:cubicBezTo>
                  <a:cubicBezTo>
                    <a:pt x="46573" y="326111"/>
                    <a:pt x="74012" y="298704"/>
                    <a:pt x="107859" y="298704"/>
                  </a:cubicBezTo>
                  <a:close/>
                  <a:moveTo>
                    <a:pt x="259823" y="137299"/>
                  </a:moveTo>
                  <a:cubicBezTo>
                    <a:pt x="261974" y="137299"/>
                    <a:pt x="263817" y="138526"/>
                    <a:pt x="264585" y="140674"/>
                  </a:cubicBezTo>
                  <a:lnTo>
                    <a:pt x="299152" y="235187"/>
                  </a:lnTo>
                  <a:cubicBezTo>
                    <a:pt x="301149" y="240557"/>
                    <a:pt x="308830" y="240557"/>
                    <a:pt x="310827" y="235187"/>
                  </a:cubicBezTo>
                  <a:lnTo>
                    <a:pt x="345240" y="140674"/>
                  </a:lnTo>
                  <a:cubicBezTo>
                    <a:pt x="346161" y="138066"/>
                    <a:pt x="348927" y="136685"/>
                    <a:pt x="351538" y="137606"/>
                  </a:cubicBezTo>
                  <a:lnTo>
                    <a:pt x="381956" y="142515"/>
                  </a:lnTo>
                  <a:lnTo>
                    <a:pt x="381956" y="142669"/>
                  </a:lnTo>
                  <a:cubicBezTo>
                    <a:pt x="402849" y="149420"/>
                    <a:pt x="416829" y="168752"/>
                    <a:pt x="416829" y="190539"/>
                  </a:cubicBezTo>
                  <a:lnTo>
                    <a:pt x="416829" y="269402"/>
                  </a:lnTo>
                  <a:cubicBezTo>
                    <a:pt x="416829" y="281216"/>
                    <a:pt x="407304" y="290729"/>
                    <a:pt x="395475" y="290729"/>
                  </a:cubicBezTo>
                  <a:lnTo>
                    <a:pt x="214350" y="290729"/>
                  </a:lnTo>
                  <a:cubicBezTo>
                    <a:pt x="202521" y="290729"/>
                    <a:pt x="192996" y="281216"/>
                    <a:pt x="192996" y="269402"/>
                  </a:cubicBezTo>
                  <a:lnTo>
                    <a:pt x="192996" y="190846"/>
                  </a:lnTo>
                  <a:cubicBezTo>
                    <a:pt x="192996" y="168905"/>
                    <a:pt x="206976" y="149573"/>
                    <a:pt x="227869" y="142515"/>
                  </a:cubicBezTo>
                  <a:cubicBezTo>
                    <a:pt x="227869" y="142515"/>
                    <a:pt x="259362" y="137299"/>
                    <a:pt x="259823" y="137299"/>
                  </a:cubicBezTo>
                  <a:close/>
                  <a:moveTo>
                    <a:pt x="296840" y="136191"/>
                  </a:moveTo>
                  <a:lnTo>
                    <a:pt x="311576" y="136191"/>
                  </a:lnTo>
                  <a:cubicBezTo>
                    <a:pt x="313418" y="136191"/>
                    <a:pt x="315413" y="136958"/>
                    <a:pt x="316795" y="138339"/>
                  </a:cubicBezTo>
                  <a:cubicBezTo>
                    <a:pt x="318790" y="140640"/>
                    <a:pt x="319097" y="143862"/>
                    <a:pt x="317562" y="146317"/>
                  </a:cubicBezTo>
                  <a:lnTo>
                    <a:pt x="309887" y="158131"/>
                  </a:lnTo>
                  <a:lnTo>
                    <a:pt x="313418" y="188971"/>
                  </a:lnTo>
                  <a:lnTo>
                    <a:pt x="306203" y="208149"/>
                  </a:lnTo>
                  <a:cubicBezTo>
                    <a:pt x="305589" y="210144"/>
                    <a:pt x="302826" y="210144"/>
                    <a:pt x="302212" y="208149"/>
                  </a:cubicBezTo>
                  <a:lnTo>
                    <a:pt x="294998" y="188971"/>
                  </a:lnTo>
                  <a:lnTo>
                    <a:pt x="298528" y="158131"/>
                  </a:lnTo>
                  <a:lnTo>
                    <a:pt x="290853" y="146317"/>
                  </a:lnTo>
                  <a:cubicBezTo>
                    <a:pt x="289318" y="143862"/>
                    <a:pt x="289625" y="140640"/>
                    <a:pt x="291621" y="138339"/>
                  </a:cubicBezTo>
                  <a:cubicBezTo>
                    <a:pt x="293002" y="136958"/>
                    <a:pt x="294998" y="136191"/>
                    <a:pt x="296840" y="136191"/>
                  </a:cubicBezTo>
                  <a:close/>
                  <a:moveTo>
                    <a:pt x="499462" y="102326"/>
                  </a:moveTo>
                  <a:cubicBezTo>
                    <a:pt x="503496" y="102595"/>
                    <a:pt x="507416" y="104398"/>
                    <a:pt x="510259" y="107696"/>
                  </a:cubicBezTo>
                  <a:cubicBezTo>
                    <a:pt x="532391" y="132857"/>
                    <a:pt x="545762" y="165075"/>
                    <a:pt x="548990" y="199288"/>
                  </a:cubicBezTo>
                  <a:cubicBezTo>
                    <a:pt x="554523" y="196680"/>
                    <a:pt x="561285" y="197447"/>
                    <a:pt x="566203" y="201743"/>
                  </a:cubicBezTo>
                  <a:cubicBezTo>
                    <a:pt x="572658" y="207420"/>
                    <a:pt x="573273" y="217392"/>
                    <a:pt x="567587" y="223836"/>
                  </a:cubicBezTo>
                  <a:lnTo>
                    <a:pt x="546069" y="248383"/>
                  </a:lnTo>
                  <a:cubicBezTo>
                    <a:pt x="543149" y="251759"/>
                    <a:pt x="538846" y="253753"/>
                    <a:pt x="534235" y="253753"/>
                  </a:cubicBezTo>
                  <a:cubicBezTo>
                    <a:pt x="529778" y="253753"/>
                    <a:pt x="525474" y="251759"/>
                    <a:pt x="522401" y="248383"/>
                  </a:cubicBezTo>
                  <a:lnTo>
                    <a:pt x="500883" y="223836"/>
                  </a:lnTo>
                  <a:cubicBezTo>
                    <a:pt x="495197" y="217392"/>
                    <a:pt x="495812" y="207420"/>
                    <a:pt x="502420" y="201743"/>
                  </a:cubicBezTo>
                  <a:cubicBezTo>
                    <a:pt x="506570" y="198061"/>
                    <a:pt x="512257" y="196987"/>
                    <a:pt x="517329" y="198521"/>
                  </a:cubicBezTo>
                  <a:cubicBezTo>
                    <a:pt x="514101" y="172133"/>
                    <a:pt x="503650" y="147739"/>
                    <a:pt x="486590" y="128408"/>
                  </a:cubicBezTo>
                  <a:cubicBezTo>
                    <a:pt x="480903" y="121811"/>
                    <a:pt x="481518" y="111992"/>
                    <a:pt x="487973" y="106162"/>
                  </a:cubicBezTo>
                  <a:cubicBezTo>
                    <a:pt x="491278" y="103324"/>
                    <a:pt x="495427" y="102058"/>
                    <a:pt x="499462" y="102326"/>
                  </a:cubicBezTo>
                  <a:close/>
                  <a:moveTo>
                    <a:pt x="110422" y="102326"/>
                  </a:moveTo>
                  <a:cubicBezTo>
                    <a:pt x="114437" y="102058"/>
                    <a:pt x="118548" y="103324"/>
                    <a:pt x="121853" y="106162"/>
                  </a:cubicBezTo>
                  <a:cubicBezTo>
                    <a:pt x="128308" y="111992"/>
                    <a:pt x="128923" y="121811"/>
                    <a:pt x="123236" y="128408"/>
                  </a:cubicBezTo>
                  <a:cubicBezTo>
                    <a:pt x="106330" y="147739"/>
                    <a:pt x="95725" y="172133"/>
                    <a:pt x="92497" y="198521"/>
                  </a:cubicBezTo>
                  <a:cubicBezTo>
                    <a:pt x="97569" y="196987"/>
                    <a:pt x="103256" y="198061"/>
                    <a:pt x="107406" y="201743"/>
                  </a:cubicBezTo>
                  <a:cubicBezTo>
                    <a:pt x="114014" y="207420"/>
                    <a:pt x="114629" y="217392"/>
                    <a:pt x="108943" y="223836"/>
                  </a:cubicBezTo>
                  <a:lnTo>
                    <a:pt x="87425" y="248383"/>
                  </a:lnTo>
                  <a:cubicBezTo>
                    <a:pt x="84352" y="251759"/>
                    <a:pt x="80048" y="253753"/>
                    <a:pt x="75591" y="253753"/>
                  </a:cubicBezTo>
                  <a:cubicBezTo>
                    <a:pt x="70980" y="253753"/>
                    <a:pt x="66677" y="251759"/>
                    <a:pt x="63757" y="248383"/>
                  </a:cubicBezTo>
                  <a:lnTo>
                    <a:pt x="42239" y="223836"/>
                  </a:lnTo>
                  <a:cubicBezTo>
                    <a:pt x="36553" y="217392"/>
                    <a:pt x="37168" y="207420"/>
                    <a:pt x="43623" y="201743"/>
                  </a:cubicBezTo>
                  <a:cubicBezTo>
                    <a:pt x="48541" y="197447"/>
                    <a:pt x="55303" y="196680"/>
                    <a:pt x="60836" y="199288"/>
                  </a:cubicBezTo>
                  <a:cubicBezTo>
                    <a:pt x="64064" y="165075"/>
                    <a:pt x="77435" y="132857"/>
                    <a:pt x="99567" y="107696"/>
                  </a:cubicBezTo>
                  <a:cubicBezTo>
                    <a:pt x="102488" y="104398"/>
                    <a:pt x="106407" y="102595"/>
                    <a:pt x="110422" y="102326"/>
                  </a:cubicBezTo>
                  <a:close/>
                  <a:moveTo>
                    <a:pt x="304983" y="0"/>
                  </a:moveTo>
                  <a:cubicBezTo>
                    <a:pt x="336706" y="0"/>
                    <a:pt x="362423" y="25685"/>
                    <a:pt x="362423" y="57370"/>
                  </a:cubicBezTo>
                  <a:cubicBezTo>
                    <a:pt x="362423" y="89055"/>
                    <a:pt x="336706" y="114740"/>
                    <a:pt x="304983" y="114740"/>
                  </a:cubicBezTo>
                  <a:cubicBezTo>
                    <a:pt x="273260" y="114740"/>
                    <a:pt x="247543" y="89055"/>
                    <a:pt x="247543" y="57370"/>
                  </a:cubicBezTo>
                  <a:cubicBezTo>
                    <a:pt x="247543" y="25685"/>
                    <a:pt x="273260" y="0"/>
                    <a:pt x="3049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1767840"/>
            <a:ext cx="12191999" cy="3657599"/>
          </a:xfrm>
          <a:prstGeom prst="rect">
            <a:avLst/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zh-CN" altLang="en-US" smtClean="0">
                <a:sym typeface="+mn-lt"/>
              </a:rPr>
              <a:t>培训意义</a:t>
            </a:r>
            <a:endParaRPr lang="zh-CN" altLang="en-US"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0400" y="2451275"/>
            <a:ext cx="6096000" cy="996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些名师、专家带给我的不仅仅是独到的见解、先进的思想、丰富的知识内涵及精湛的理论阐述，更重要的是带给了我做人和做学问的道理。</a:t>
            </a:r>
            <a:endParaRPr lang="zh-CN" altLang="zh-CN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60400" y="3709115"/>
            <a:ext cx="6096000" cy="13014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他们的讲座折射出一种责任：国家昌盛，系于教育；教育昌盛，系于教师。聆听专家们的讲座使我意识到只有把自我完善与团队和谐统一起来，才能与学生过上幸福完整的教育生活，实现学生与教师发展的双赢。</a:t>
            </a:r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9" r="28889"/>
          <a:stretch>
            <a:fillRect/>
          </a:stretch>
        </p:blipFill>
        <p:spPr>
          <a:xfrm>
            <a:off x="7175500" y="0"/>
            <a:ext cx="4343401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0" y="4274131"/>
            <a:ext cx="12191999" cy="1961569"/>
          </a:xfrm>
          <a:prstGeom prst="rect">
            <a:avLst/>
          </a:prstGeom>
          <a:solidFill>
            <a:srgbClr val="149C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3" name="图片 2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314" y="1500092"/>
            <a:ext cx="1633870" cy="2298391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6639" y="1661023"/>
            <a:ext cx="1460001" cy="2094784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3580" y="1775366"/>
            <a:ext cx="1298420" cy="1852413"/>
          </a:xfrm>
          <a:prstGeom prst="rect">
            <a:avLst/>
          </a:prstGeom>
        </p:spPr>
      </p:pic>
      <p:pic>
        <p:nvPicPr>
          <p:cNvPr id="7" name="图片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4720" y="1579347"/>
            <a:ext cx="1384981" cy="2267907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122" y="1579348"/>
            <a:ext cx="1697660" cy="2300689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30" y="1445223"/>
            <a:ext cx="1499746" cy="2408129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297" y="1487899"/>
            <a:ext cx="1414395" cy="2322777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7" y="1500092"/>
            <a:ext cx="1402202" cy="2316681"/>
          </a:xfrm>
          <a:prstGeom prst="rect">
            <a:avLst/>
          </a:prstGeom>
        </p:spPr>
      </p:pic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zh-CN" altLang="zh-CN">
                <a:sym typeface="+mn-lt"/>
              </a:rPr>
              <a:t>阅读书籍</a:t>
            </a:r>
            <a:endParaRPr lang="zh-CN" altLang="en-US">
              <a:sym typeface="+mn-lt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6488678" y="4494377"/>
            <a:ext cx="4288017" cy="1612905"/>
            <a:chOff x="6488678" y="4494377"/>
            <a:chExt cx="4288017" cy="1612905"/>
          </a:xfrm>
        </p:grpSpPr>
        <p:sp>
          <p:nvSpPr>
            <p:cNvPr id="4" name="矩形 3"/>
            <p:cNvSpPr/>
            <p:nvPr/>
          </p:nvSpPr>
          <p:spPr>
            <a:xfrm>
              <a:off x="6488678" y="5110086"/>
              <a:ext cx="4288017" cy="9971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通</a:t>
              </a:r>
              <a:r>
                <a:rPr lang="zh-CN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过阅读这些书籍，我们对如何与学生相处，如何转化后进生，如何做课题研究，如何管理课堂有了更深刻的认识。</a:t>
              </a:r>
              <a:endPara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6488678" y="4494377"/>
              <a:ext cx="4288017" cy="5170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8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对工作有更深刻的认识</a:t>
              </a:r>
              <a:endParaRPr lang="zh-CN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1415305" y="4494377"/>
            <a:ext cx="4288017" cy="1612905"/>
            <a:chOff x="1415305" y="4494377"/>
            <a:chExt cx="4288017" cy="1612905"/>
          </a:xfrm>
        </p:grpSpPr>
        <p:sp>
          <p:nvSpPr>
            <p:cNvPr id="13" name="矩形 12"/>
            <p:cNvSpPr/>
            <p:nvPr/>
          </p:nvSpPr>
          <p:spPr>
            <a:xfrm>
              <a:off x="1415305" y="5110086"/>
              <a:ext cx="4288017" cy="9971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学院关心我们的成长</a:t>
              </a:r>
              <a:r>
                <a:rPr lang="zh-CN" altLang="zh-CN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，为</a:t>
              </a:r>
              <a:r>
                <a:rPr lang="zh-CN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我们精心准备了书籍，有《教师如何做研究》、《班主任兵法》、《有效管理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5</a:t>
              </a:r>
              <a:r>
                <a:rPr lang="zh-CN" altLang="zh-CN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大兵法》等</a:t>
              </a:r>
              <a:r>
                <a:rPr lang="zh-CN" altLang="en-US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。</a:t>
              </a:r>
              <a:endPara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1415305" y="4494377"/>
              <a:ext cx="4288017" cy="4732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学</a:t>
              </a:r>
              <a:r>
                <a:rPr lang="zh-CN" altLang="zh-CN" sz="28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院精</a:t>
              </a:r>
              <a:r>
                <a:rPr lang="zh-CN" altLang="zh-CN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心准</a:t>
              </a:r>
              <a:r>
                <a:rPr lang="zh-CN" altLang="zh-CN" sz="28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备书籍</a:t>
              </a:r>
              <a:endParaRPr lang="zh-CN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ṩḻ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ïṧļiďe"/>
          <p:cNvSpPr txBox="1"/>
          <p:nvPr/>
        </p:nvSpPr>
        <p:spPr>
          <a:xfrm>
            <a:off x="1183209" y="32913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smtClean="0">
                <a:solidFill>
                  <a:srgbClr val="0777D9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rgbClr val="0777D9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699657" y="3686629"/>
            <a:ext cx="9492343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ṣ1iḍè"/>
          <p:cNvSpPr txBox="1"/>
          <p:nvPr/>
        </p:nvSpPr>
        <p:spPr>
          <a:xfrm>
            <a:off x="2720157" y="3797291"/>
            <a:ext cx="9090843" cy="5637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3600" b="1" i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600" b="0" smtClean="0">
                <a:latin typeface="Arial" panose="020B0604020202020204" pitchFamily="34" charset="0"/>
                <a:cs typeface="Arial" panose="020B0604020202020204" pitchFamily="34" charset="0"/>
              </a:rPr>
              <a:t>APPLY WHAT YOU HAVE LEARNED, </a:t>
            </a:r>
            <a:endParaRPr lang="en-US" altLang="zh-CN" sz="1600" b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600" b="0" smtClean="0">
                <a:latin typeface="Arial" panose="020B0604020202020204" pitchFamily="34" charset="0"/>
                <a:cs typeface="Arial" panose="020B0604020202020204" pitchFamily="34" charset="0"/>
              </a:rPr>
              <a:t>SERIOUSLY REFLECT ON AND PROMOTE THE LIFELONG DEVELOPMENT OF TEACHERS</a:t>
            </a:r>
            <a:endParaRPr lang="zh-CN" altLang="en-US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699657" y="2987159"/>
            <a:ext cx="9144000" cy="6642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sz="3600" b="1" i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学以致用，及时反思，认真完成轮岗实践</a:t>
            </a:r>
            <a:r>
              <a:rPr lang="zh-CN" altLang="zh-CN" sz="3600" b="1" i="1">
                <a:solidFill>
                  <a:srgbClr val="03378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锻炼</a:t>
            </a:r>
            <a:endParaRPr lang="zh-CN" altLang="zh-CN" sz="3600" b="1" i="1">
              <a:solidFill>
                <a:srgbClr val="03378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zh-CN" altLang="en-US">
                <a:sym typeface="+mn-lt"/>
              </a:rPr>
              <a:t>名师讲堂的意义</a:t>
            </a:r>
            <a:endParaRPr lang="zh-CN" altLang="en-US">
              <a:sym typeface="+mn-lt"/>
            </a:endParaRPr>
          </a:p>
        </p:txBody>
      </p:sp>
      <p:sp>
        <p:nvSpPr>
          <p:cNvPr id="4" name="任意多边形: 形状 38"/>
          <p:cNvSpPr/>
          <p:nvPr/>
        </p:nvSpPr>
        <p:spPr>
          <a:xfrm>
            <a:off x="6691085" y="0"/>
            <a:ext cx="3283131" cy="2830285"/>
          </a:xfrm>
          <a:custGeom>
            <a:avLst/>
            <a:gdLst>
              <a:gd name="connsiteX0" fmla="*/ 0 w 3283131"/>
              <a:gd name="connsiteY0" fmla="*/ 0 h 2830285"/>
              <a:gd name="connsiteX1" fmla="*/ 3283131 w 3283131"/>
              <a:gd name="connsiteY1" fmla="*/ 0 h 2830285"/>
              <a:gd name="connsiteX2" fmla="*/ 2135053 w 3283131"/>
              <a:gd name="connsiteY2" fmla="*/ 2830285 h 2830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83131" h="2830285">
                <a:moveTo>
                  <a:pt x="0" y="0"/>
                </a:moveTo>
                <a:lnTo>
                  <a:pt x="3283131" y="0"/>
                </a:lnTo>
                <a:lnTo>
                  <a:pt x="2135053" y="2830285"/>
                </a:lnTo>
                <a:close/>
              </a:path>
            </a:pathLst>
          </a:custGeom>
          <a:blipFill dpi="0" rotWithShape="1">
            <a:blip r:embed="rId1"/>
            <a:srcRect/>
            <a:stretch>
              <a:fillRect l="-90000" t="-33980" b="-337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i="1"/>
          </a:p>
        </p:txBody>
      </p:sp>
      <p:sp>
        <p:nvSpPr>
          <p:cNvPr id="5" name="任意多边形: 形状 17"/>
          <p:cNvSpPr/>
          <p:nvPr/>
        </p:nvSpPr>
        <p:spPr>
          <a:xfrm>
            <a:off x="7155542" y="0"/>
            <a:ext cx="5036458" cy="6858000"/>
          </a:xfrm>
          <a:custGeom>
            <a:avLst/>
            <a:gdLst>
              <a:gd name="connsiteX0" fmla="*/ 2788531 w 5036458"/>
              <a:gd name="connsiteY0" fmla="*/ 0 h 6858000"/>
              <a:gd name="connsiteX1" fmla="*/ 5036458 w 5036458"/>
              <a:gd name="connsiteY1" fmla="*/ 0 h 6858000"/>
              <a:gd name="connsiteX2" fmla="*/ 5036458 w 5036458"/>
              <a:gd name="connsiteY2" fmla="*/ 6858000 h 6858000"/>
              <a:gd name="connsiteX3" fmla="*/ 0 w 50364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36458" h="6858000">
                <a:moveTo>
                  <a:pt x="2788531" y="0"/>
                </a:moveTo>
                <a:lnTo>
                  <a:pt x="5036458" y="0"/>
                </a:lnTo>
                <a:lnTo>
                  <a:pt x="5036458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1"/>
            <a:srcRect/>
            <a:stretch>
              <a:fillRect r="-8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i="1"/>
          </a:p>
        </p:txBody>
      </p:sp>
      <p:cxnSp>
        <p:nvCxnSpPr>
          <p:cNvPr id="6" name="直接连接符 5"/>
          <p:cNvCxnSpPr/>
          <p:nvPr/>
        </p:nvCxnSpPr>
        <p:spPr>
          <a:xfrm>
            <a:off x="896730" y="2230512"/>
            <a:ext cx="0" cy="468000"/>
          </a:xfrm>
          <a:prstGeom prst="line">
            <a:avLst/>
          </a:prstGeom>
          <a:ln w="76200">
            <a:solidFill>
              <a:srgbClr val="149C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/>
        </p:nvGrpSpPr>
        <p:grpSpPr>
          <a:xfrm>
            <a:off x="774643" y="2230512"/>
            <a:ext cx="6083358" cy="3772948"/>
            <a:chOff x="1140655" y="3357487"/>
            <a:chExt cx="6148671" cy="3772948"/>
          </a:xfrm>
        </p:grpSpPr>
        <p:sp>
          <p:nvSpPr>
            <p:cNvPr id="8" name="文本框 7"/>
            <p:cNvSpPr txBox="1"/>
            <p:nvPr/>
          </p:nvSpPr>
          <p:spPr>
            <a:xfrm>
              <a:off x="1506882" y="3357487"/>
              <a:ext cx="3416320" cy="52322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r>
                <a:rPr lang="zh-CN" altLang="en-US" sz="2800" b="1" smtClean="0">
                  <a:solidFill>
                    <a:srgbClr val="033782"/>
                  </a:solidFill>
                </a:rPr>
                <a:t>自我完善和团队和谐</a:t>
              </a:r>
              <a:endParaRPr lang="zh-CN" altLang="zh-CN" sz="2800" b="1">
                <a:solidFill>
                  <a:srgbClr val="033782"/>
                </a:solidFill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1140655" y="4157176"/>
              <a:ext cx="6148671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我将以本次青年骨干教师培训为契机，珍惜轮岗实践锻炼机会</a:t>
              </a: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  <a:endParaRPr lang="en-US" altLang="zh-CN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1140655" y="6401902"/>
              <a:ext cx="6148671" cy="728533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我将坚决服从学院的安排，认真履行职责，积极完成学院交办的各项任务。</a:t>
              </a:r>
              <a:endParaRPr lang="zh-CN" altLang="zh-CN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140655" y="5113340"/>
              <a:ext cx="6148671" cy="14198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三校合并后，我加入了汽车工程系，后来担任汽车工程系教务科科员，</a:t>
              </a:r>
              <a:r>
                <a:rPr lang="en-US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年经过考查被提任为教务科科长，这次青年骨干教师实践轮岗，我得到了在主任助理岗位上充分</a:t>
              </a:r>
              <a:r>
                <a:rPr lang="zh-CN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锻炼自己的机会。</a:t>
              </a:r>
              <a:endParaRPr lang="en-US" altLang="zh-CN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721608" y="902819"/>
            <a:ext cx="6433934" cy="1275221"/>
          </a:xfrm>
          <a:prstGeom prst="rect">
            <a:avLst/>
          </a:prstGeom>
          <a:noFill/>
        </p:spPr>
        <p:txBody>
          <a:bodyPr wrap="square" lIns="0" tIns="45720" rIns="0" bIns="4572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>
              <a:lnSpc>
                <a:spcPct val="130000"/>
              </a:lnSpc>
            </a:pPr>
            <a:r>
              <a:rPr lang="en-US" altLang="zh-CN" sz="6600" b="1" i="1" spc="600" smtClean="0">
                <a:solidFill>
                  <a:srgbClr val="149CEA">
                    <a:alpha val="10000"/>
                  </a:srgbClr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TEAMWORK</a:t>
            </a:r>
            <a:endParaRPr lang="en-US" altLang="zh-CN" sz="6600" b="1" i="1" spc="600" dirty="0">
              <a:solidFill>
                <a:srgbClr val="149CEA">
                  <a:alpha val="10000"/>
                </a:srgbClr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 vert="horz" wrap="none" lIns="0" tIns="45720" rIns="91440" bIns="45720" rtlCol="0" anchor="ctr">
            <a:noAutofit/>
          </a:bodyPr>
          <a:lstStyle/>
          <a:p>
            <a:r>
              <a:rPr lang="en-US" altLang="zh-CN"/>
              <a:t>1.</a:t>
            </a:r>
            <a:r>
              <a:rPr lang="zh-CN" altLang="zh-CN"/>
              <a:t>把学习作为永恒的动力</a:t>
            </a:r>
            <a:endParaRPr lang="zh-CN" altLang="zh-CN"/>
          </a:p>
        </p:txBody>
      </p:sp>
      <p:sp>
        <p:nvSpPr>
          <p:cNvPr id="5" name="矩形 4"/>
          <p:cNvSpPr/>
          <p:nvPr/>
        </p:nvSpPr>
        <p:spPr>
          <a:xfrm>
            <a:off x="660400" y="2402235"/>
            <a:ext cx="10871200" cy="3361591"/>
          </a:xfrm>
          <a:prstGeom prst="rect">
            <a:avLst/>
          </a:prstGeom>
          <a:noFill/>
          <a:ln w="25400">
            <a:solidFill>
              <a:srgbClr val="149C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3" name="Group 32"/>
          <p:cNvGrpSpPr/>
          <p:nvPr/>
        </p:nvGrpSpPr>
        <p:grpSpPr>
          <a:xfrm>
            <a:off x="8141760" y="1854006"/>
            <a:ext cx="1055664" cy="1055664"/>
            <a:chOff x="6062870" y="2325572"/>
            <a:chExt cx="617048" cy="617048"/>
          </a:xfrm>
        </p:grpSpPr>
        <p:sp>
          <p:nvSpPr>
            <p:cNvPr id="34" name="椭圆 33"/>
            <p:cNvSpPr/>
            <p:nvPr/>
          </p:nvSpPr>
          <p:spPr>
            <a:xfrm>
              <a:off x="6062870" y="2325572"/>
              <a:ext cx="617048" cy="617048"/>
            </a:xfrm>
            <a:prstGeom prst="ellipse">
              <a:avLst/>
            </a:prstGeom>
            <a:solidFill>
              <a:srgbClr val="149CEA"/>
            </a:solidFill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latin typeface="+mn-ea"/>
                <a:cs typeface="+mn-ea"/>
              </a:endParaRPr>
            </a:p>
          </p:txBody>
        </p:sp>
        <p:sp>
          <p:nvSpPr>
            <p:cNvPr id="35" name="earth-grid-with-circular-pattern-around_44859"/>
            <p:cNvSpPr>
              <a:spLocks noChangeAspect="1"/>
            </p:cNvSpPr>
            <p:nvPr/>
          </p:nvSpPr>
          <p:spPr bwMode="auto">
            <a:xfrm>
              <a:off x="6182140" y="2445146"/>
              <a:ext cx="378510" cy="377898"/>
            </a:xfrm>
            <a:custGeom>
              <a:avLst/>
              <a:gdLst>
                <a:gd name="connsiteX0" fmla="*/ 526353 w 609316"/>
                <a:gd name="connsiteY0" fmla="*/ 439378 h 608332"/>
                <a:gd name="connsiteX1" fmla="*/ 440000 w 609316"/>
                <a:gd name="connsiteY1" fmla="*/ 525582 h 608332"/>
                <a:gd name="connsiteX2" fmla="*/ 519574 w 609316"/>
                <a:gd name="connsiteY2" fmla="*/ 518815 h 608332"/>
                <a:gd name="connsiteX3" fmla="*/ 526353 w 609316"/>
                <a:gd name="connsiteY3" fmla="*/ 439378 h 608332"/>
                <a:gd name="connsiteX4" fmla="*/ 137051 w 609316"/>
                <a:gd name="connsiteY4" fmla="*/ 325730 h 608332"/>
                <a:gd name="connsiteX5" fmla="*/ 283108 w 609316"/>
                <a:gd name="connsiteY5" fmla="*/ 471539 h 608332"/>
                <a:gd name="connsiteX6" fmla="*/ 153114 w 609316"/>
                <a:gd name="connsiteY6" fmla="*/ 601311 h 608332"/>
                <a:gd name="connsiteX7" fmla="*/ 119130 w 609316"/>
                <a:gd name="connsiteY7" fmla="*/ 601311 h 608332"/>
                <a:gd name="connsiteX8" fmla="*/ 7057 w 609316"/>
                <a:gd name="connsiteY8" fmla="*/ 489521 h 608332"/>
                <a:gd name="connsiteX9" fmla="*/ 0 w 609316"/>
                <a:gd name="connsiteY9" fmla="*/ 472466 h 608332"/>
                <a:gd name="connsiteX10" fmla="*/ 7057 w 609316"/>
                <a:gd name="connsiteY10" fmla="*/ 455503 h 608332"/>
                <a:gd name="connsiteX11" fmla="*/ 8264 w 609316"/>
                <a:gd name="connsiteY11" fmla="*/ 454298 h 608332"/>
                <a:gd name="connsiteX12" fmla="*/ 40298 w 609316"/>
                <a:gd name="connsiteY12" fmla="*/ 486370 h 608332"/>
                <a:gd name="connsiteX13" fmla="*/ 47541 w 609316"/>
                <a:gd name="connsiteY13" fmla="*/ 489336 h 608332"/>
                <a:gd name="connsiteX14" fmla="*/ 54783 w 609316"/>
                <a:gd name="connsiteY14" fmla="*/ 486370 h 608332"/>
                <a:gd name="connsiteX15" fmla="*/ 54783 w 609316"/>
                <a:gd name="connsiteY15" fmla="*/ 471910 h 608332"/>
                <a:gd name="connsiteX16" fmla="*/ 22749 w 609316"/>
                <a:gd name="connsiteY16" fmla="*/ 439837 h 608332"/>
                <a:gd name="connsiteX17" fmla="*/ 55897 w 609316"/>
                <a:gd name="connsiteY17" fmla="*/ 406745 h 608332"/>
                <a:gd name="connsiteX18" fmla="*/ 87932 w 609316"/>
                <a:gd name="connsiteY18" fmla="*/ 438725 h 608332"/>
                <a:gd name="connsiteX19" fmla="*/ 95174 w 609316"/>
                <a:gd name="connsiteY19" fmla="*/ 441784 h 608332"/>
                <a:gd name="connsiteX20" fmla="*/ 102417 w 609316"/>
                <a:gd name="connsiteY20" fmla="*/ 438725 h 608332"/>
                <a:gd name="connsiteX21" fmla="*/ 102417 w 609316"/>
                <a:gd name="connsiteY21" fmla="*/ 424357 h 608332"/>
                <a:gd name="connsiteX22" fmla="*/ 70382 w 609316"/>
                <a:gd name="connsiteY22" fmla="*/ 392285 h 608332"/>
                <a:gd name="connsiteX23" fmla="*/ 98610 w 609316"/>
                <a:gd name="connsiteY23" fmla="*/ 364106 h 608332"/>
                <a:gd name="connsiteX24" fmla="*/ 159243 w 609316"/>
                <a:gd name="connsiteY24" fmla="*/ 424543 h 608332"/>
                <a:gd name="connsiteX25" fmla="*/ 166485 w 609316"/>
                <a:gd name="connsiteY25" fmla="*/ 427509 h 608332"/>
                <a:gd name="connsiteX26" fmla="*/ 173635 w 609316"/>
                <a:gd name="connsiteY26" fmla="*/ 424543 h 608332"/>
                <a:gd name="connsiteX27" fmla="*/ 173635 w 609316"/>
                <a:gd name="connsiteY27" fmla="*/ 410082 h 608332"/>
                <a:gd name="connsiteX28" fmla="*/ 113095 w 609316"/>
                <a:gd name="connsiteY28" fmla="*/ 349645 h 608332"/>
                <a:gd name="connsiteX29" fmla="*/ 186794 w 609316"/>
                <a:gd name="connsiteY29" fmla="*/ 231191 h 608332"/>
                <a:gd name="connsiteX30" fmla="*/ 165159 w 609316"/>
                <a:gd name="connsiteY30" fmla="*/ 252881 h 608332"/>
                <a:gd name="connsiteX31" fmla="*/ 410288 w 609316"/>
                <a:gd name="connsiteY31" fmla="*/ 497589 h 608332"/>
                <a:gd name="connsiteX32" fmla="*/ 431922 w 609316"/>
                <a:gd name="connsiteY32" fmla="*/ 475899 h 608332"/>
                <a:gd name="connsiteX33" fmla="*/ 253090 w 609316"/>
                <a:gd name="connsiteY33" fmla="*/ 165102 h 608332"/>
                <a:gd name="connsiteX34" fmla="*/ 231363 w 609316"/>
                <a:gd name="connsiteY34" fmla="*/ 186699 h 608332"/>
                <a:gd name="connsiteX35" fmla="*/ 476584 w 609316"/>
                <a:gd name="connsiteY35" fmla="*/ 431407 h 608332"/>
                <a:gd name="connsiteX36" fmla="*/ 498218 w 609316"/>
                <a:gd name="connsiteY36" fmla="*/ 409809 h 608332"/>
                <a:gd name="connsiteX37" fmla="*/ 139625 w 609316"/>
                <a:gd name="connsiteY37" fmla="*/ 116346 h 608332"/>
                <a:gd name="connsiteX38" fmla="*/ 116319 w 609316"/>
                <a:gd name="connsiteY38" fmla="*/ 139611 h 608332"/>
                <a:gd name="connsiteX39" fmla="*/ 142968 w 609316"/>
                <a:gd name="connsiteY39" fmla="*/ 217195 h 608332"/>
                <a:gd name="connsiteX40" fmla="*/ 217435 w 609316"/>
                <a:gd name="connsiteY40" fmla="*/ 142948 h 608332"/>
                <a:gd name="connsiteX41" fmla="*/ 77972 w 609316"/>
                <a:gd name="connsiteY41" fmla="*/ 52110 h 608332"/>
                <a:gd name="connsiteX42" fmla="*/ 255690 w 609316"/>
                <a:gd name="connsiteY42" fmla="*/ 112823 h 608332"/>
                <a:gd name="connsiteX43" fmla="*/ 263489 w 609316"/>
                <a:gd name="connsiteY43" fmla="*/ 117736 h 608332"/>
                <a:gd name="connsiteX44" fmla="*/ 548451 w 609316"/>
                <a:gd name="connsiteY44" fmla="*/ 402208 h 608332"/>
                <a:gd name="connsiteX45" fmla="*/ 548451 w 609316"/>
                <a:gd name="connsiteY45" fmla="*/ 547735 h 608332"/>
                <a:gd name="connsiteX46" fmla="*/ 475563 w 609316"/>
                <a:gd name="connsiteY46" fmla="*/ 577860 h 608332"/>
                <a:gd name="connsiteX47" fmla="*/ 402674 w 609316"/>
                <a:gd name="connsiteY47" fmla="*/ 547735 h 608332"/>
                <a:gd name="connsiteX48" fmla="*/ 117712 w 609316"/>
                <a:gd name="connsiteY48" fmla="*/ 263263 h 608332"/>
                <a:gd name="connsiteX49" fmla="*/ 112884 w 609316"/>
                <a:gd name="connsiteY49" fmla="*/ 255384 h 608332"/>
                <a:gd name="connsiteX50" fmla="*/ 51973 w 609316"/>
                <a:gd name="connsiteY50" fmla="*/ 78064 h 608332"/>
                <a:gd name="connsiteX51" fmla="*/ 56894 w 609316"/>
                <a:gd name="connsiteY51" fmla="*/ 57023 h 608332"/>
                <a:gd name="connsiteX52" fmla="*/ 77972 w 609316"/>
                <a:gd name="connsiteY52" fmla="*/ 52110 h 608332"/>
                <a:gd name="connsiteX53" fmla="*/ 473310 w 609316"/>
                <a:gd name="connsiteY53" fmla="*/ 0 h 608332"/>
                <a:gd name="connsiteX54" fmla="*/ 490302 w 609316"/>
                <a:gd name="connsiteY54" fmla="*/ 7045 h 608332"/>
                <a:gd name="connsiteX55" fmla="*/ 602283 w 609316"/>
                <a:gd name="connsiteY55" fmla="*/ 118943 h 608332"/>
                <a:gd name="connsiteX56" fmla="*/ 602283 w 609316"/>
                <a:gd name="connsiteY56" fmla="*/ 152874 h 608332"/>
                <a:gd name="connsiteX57" fmla="*/ 472196 w 609316"/>
                <a:gd name="connsiteY57" fmla="*/ 282756 h 608332"/>
                <a:gd name="connsiteX58" fmla="*/ 326788 w 609316"/>
                <a:gd name="connsiteY58" fmla="*/ 136279 h 608332"/>
                <a:gd name="connsiteX59" fmla="*/ 355108 w 609316"/>
                <a:gd name="connsiteY59" fmla="*/ 108096 h 608332"/>
                <a:gd name="connsiteX60" fmla="*/ 415648 w 609316"/>
                <a:gd name="connsiteY60" fmla="*/ 168541 h 608332"/>
                <a:gd name="connsiteX61" fmla="*/ 422891 w 609316"/>
                <a:gd name="connsiteY61" fmla="*/ 171508 h 608332"/>
                <a:gd name="connsiteX62" fmla="*/ 430041 w 609316"/>
                <a:gd name="connsiteY62" fmla="*/ 168541 h 608332"/>
                <a:gd name="connsiteX63" fmla="*/ 430041 w 609316"/>
                <a:gd name="connsiteY63" fmla="*/ 154079 h 608332"/>
                <a:gd name="connsiteX64" fmla="*/ 369500 w 609316"/>
                <a:gd name="connsiteY64" fmla="*/ 93634 h 608332"/>
                <a:gd name="connsiteX65" fmla="*/ 397821 w 609316"/>
                <a:gd name="connsiteY65" fmla="*/ 65359 h 608332"/>
                <a:gd name="connsiteX66" fmla="*/ 429855 w 609316"/>
                <a:gd name="connsiteY66" fmla="*/ 97342 h 608332"/>
                <a:gd name="connsiteX67" fmla="*/ 437097 w 609316"/>
                <a:gd name="connsiteY67" fmla="*/ 100402 h 608332"/>
                <a:gd name="connsiteX68" fmla="*/ 444340 w 609316"/>
                <a:gd name="connsiteY68" fmla="*/ 97342 h 608332"/>
                <a:gd name="connsiteX69" fmla="*/ 444340 w 609316"/>
                <a:gd name="connsiteY69" fmla="*/ 82973 h 608332"/>
                <a:gd name="connsiteX70" fmla="*/ 412306 w 609316"/>
                <a:gd name="connsiteY70" fmla="*/ 50989 h 608332"/>
                <a:gd name="connsiteX71" fmla="*/ 440626 w 609316"/>
                <a:gd name="connsiteY71" fmla="*/ 22713 h 608332"/>
                <a:gd name="connsiteX72" fmla="*/ 472660 w 609316"/>
                <a:gd name="connsiteY72" fmla="*/ 54697 h 608332"/>
                <a:gd name="connsiteX73" fmla="*/ 479903 w 609316"/>
                <a:gd name="connsiteY73" fmla="*/ 57664 h 608332"/>
                <a:gd name="connsiteX74" fmla="*/ 487052 w 609316"/>
                <a:gd name="connsiteY74" fmla="*/ 54697 h 608332"/>
                <a:gd name="connsiteX75" fmla="*/ 487052 w 609316"/>
                <a:gd name="connsiteY75" fmla="*/ 40235 h 608332"/>
                <a:gd name="connsiteX76" fmla="*/ 455018 w 609316"/>
                <a:gd name="connsiteY76" fmla="*/ 8251 h 608332"/>
                <a:gd name="connsiteX77" fmla="*/ 456225 w 609316"/>
                <a:gd name="connsiteY77" fmla="*/ 7045 h 608332"/>
                <a:gd name="connsiteX78" fmla="*/ 473310 w 609316"/>
                <a:gd name="connsiteY78" fmla="*/ 0 h 60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09316" h="608332">
                  <a:moveTo>
                    <a:pt x="526353" y="439378"/>
                  </a:moveTo>
                  <a:lnTo>
                    <a:pt x="440000" y="525582"/>
                  </a:lnTo>
                  <a:cubicBezTo>
                    <a:pt x="463863" y="541710"/>
                    <a:pt x="498776" y="539578"/>
                    <a:pt x="519574" y="518815"/>
                  </a:cubicBezTo>
                  <a:cubicBezTo>
                    <a:pt x="541116" y="497218"/>
                    <a:pt x="543344" y="463571"/>
                    <a:pt x="526353" y="439378"/>
                  </a:cubicBezTo>
                  <a:close/>
                  <a:moveTo>
                    <a:pt x="137051" y="325730"/>
                  </a:moveTo>
                  <a:lnTo>
                    <a:pt x="283108" y="471539"/>
                  </a:lnTo>
                  <a:lnTo>
                    <a:pt x="153114" y="601311"/>
                  </a:lnTo>
                  <a:cubicBezTo>
                    <a:pt x="143736" y="610673"/>
                    <a:pt x="128508" y="610673"/>
                    <a:pt x="119130" y="601311"/>
                  </a:cubicBezTo>
                  <a:lnTo>
                    <a:pt x="7057" y="489521"/>
                  </a:lnTo>
                  <a:cubicBezTo>
                    <a:pt x="2507" y="484979"/>
                    <a:pt x="0" y="478862"/>
                    <a:pt x="0" y="472466"/>
                  </a:cubicBezTo>
                  <a:cubicBezTo>
                    <a:pt x="0" y="466162"/>
                    <a:pt x="2507" y="460045"/>
                    <a:pt x="7057" y="455503"/>
                  </a:cubicBezTo>
                  <a:lnTo>
                    <a:pt x="8264" y="454298"/>
                  </a:lnTo>
                  <a:lnTo>
                    <a:pt x="40298" y="486370"/>
                  </a:lnTo>
                  <a:cubicBezTo>
                    <a:pt x="42341" y="488316"/>
                    <a:pt x="44941" y="489336"/>
                    <a:pt x="47541" y="489336"/>
                  </a:cubicBezTo>
                  <a:cubicBezTo>
                    <a:pt x="50141" y="489336"/>
                    <a:pt x="52833" y="488316"/>
                    <a:pt x="54783" y="486370"/>
                  </a:cubicBezTo>
                  <a:cubicBezTo>
                    <a:pt x="58776" y="482291"/>
                    <a:pt x="58776" y="475895"/>
                    <a:pt x="54783" y="471910"/>
                  </a:cubicBezTo>
                  <a:lnTo>
                    <a:pt x="22749" y="439837"/>
                  </a:lnTo>
                  <a:lnTo>
                    <a:pt x="55897" y="406745"/>
                  </a:lnTo>
                  <a:lnTo>
                    <a:pt x="87932" y="438725"/>
                  </a:lnTo>
                  <a:cubicBezTo>
                    <a:pt x="89974" y="440764"/>
                    <a:pt x="92574" y="441784"/>
                    <a:pt x="95174" y="441784"/>
                  </a:cubicBezTo>
                  <a:cubicBezTo>
                    <a:pt x="97774" y="441784"/>
                    <a:pt x="100467" y="440764"/>
                    <a:pt x="102417" y="438725"/>
                  </a:cubicBezTo>
                  <a:cubicBezTo>
                    <a:pt x="106409" y="434739"/>
                    <a:pt x="106409" y="428343"/>
                    <a:pt x="102417" y="424357"/>
                  </a:cubicBezTo>
                  <a:lnTo>
                    <a:pt x="70382" y="392285"/>
                  </a:lnTo>
                  <a:lnTo>
                    <a:pt x="98610" y="364106"/>
                  </a:lnTo>
                  <a:lnTo>
                    <a:pt x="159243" y="424543"/>
                  </a:lnTo>
                  <a:cubicBezTo>
                    <a:pt x="161192" y="426489"/>
                    <a:pt x="163792" y="427509"/>
                    <a:pt x="166485" y="427509"/>
                  </a:cubicBezTo>
                  <a:cubicBezTo>
                    <a:pt x="169085" y="427509"/>
                    <a:pt x="171685" y="426489"/>
                    <a:pt x="173635" y="424543"/>
                  </a:cubicBezTo>
                  <a:cubicBezTo>
                    <a:pt x="177627" y="420557"/>
                    <a:pt x="177627" y="414068"/>
                    <a:pt x="173635" y="410082"/>
                  </a:cubicBezTo>
                  <a:lnTo>
                    <a:pt x="113095" y="349645"/>
                  </a:lnTo>
                  <a:close/>
                  <a:moveTo>
                    <a:pt x="186794" y="231191"/>
                  </a:moveTo>
                  <a:lnTo>
                    <a:pt x="165159" y="252881"/>
                  </a:lnTo>
                  <a:lnTo>
                    <a:pt x="410288" y="497589"/>
                  </a:lnTo>
                  <a:lnTo>
                    <a:pt x="431922" y="475899"/>
                  </a:lnTo>
                  <a:close/>
                  <a:moveTo>
                    <a:pt x="253090" y="165102"/>
                  </a:moveTo>
                  <a:lnTo>
                    <a:pt x="231363" y="186699"/>
                  </a:lnTo>
                  <a:lnTo>
                    <a:pt x="476584" y="431407"/>
                  </a:lnTo>
                  <a:lnTo>
                    <a:pt x="498218" y="409809"/>
                  </a:lnTo>
                  <a:close/>
                  <a:moveTo>
                    <a:pt x="139625" y="116346"/>
                  </a:moveTo>
                  <a:lnTo>
                    <a:pt x="116319" y="139611"/>
                  </a:lnTo>
                  <a:lnTo>
                    <a:pt x="142968" y="217195"/>
                  </a:lnTo>
                  <a:lnTo>
                    <a:pt x="217435" y="142948"/>
                  </a:lnTo>
                  <a:close/>
                  <a:moveTo>
                    <a:pt x="77972" y="52110"/>
                  </a:moveTo>
                  <a:lnTo>
                    <a:pt x="255690" y="112823"/>
                  </a:lnTo>
                  <a:cubicBezTo>
                    <a:pt x="258661" y="113843"/>
                    <a:pt x="261261" y="115511"/>
                    <a:pt x="263489" y="117736"/>
                  </a:cubicBezTo>
                  <a:lnTo>
                    <a:pt x="548451" y="402208"/>
                  </a:lnTo>
                  <a:cubicBezTo>
                    <a:pt x="588656" y="442252"/>
                    <a:pt x="588656" y="507600"/>
                    <a:pt x="548451" y="547735"/>
                  </a:cubicBezTo>
                  <a:cubicBezTo>
                    <a:pt x="528952" y="567201"/>
                    <a:pt x="503047" y="577860"/>
                    <a:pt x="475563" y="577860"/>
                  </a:cubicBezTo>
                  <a:cubicBezTo>
                    <a:pt x="448079" y="577860"/>
                    <a:pt x="422173" y="567201"/>
                    <a:pt x="402674" y="547735"/>
                  </a:cubicBezTo>
                  <a:lnTo>
                    <a:pt x="117712" y="263263"/>
                  </a:lnTo>
                  <a:cubicBezTo>
                    <a:pt x="115576" y="261038"/>
                    <a:pt x="113905" y="258350"/>
                    <a:pt x="112884" y="255384"/>
                  </a:cubicBezTo>
                  <a:lnTo>
                    <a:pt x="51973" y="78064"/>
                  </a:lnTo>
                  <a:cubicBezTo>
                    <a:pt x="49466" y="70648"/>
                    <a:pt x="51416" y="62491"/>
                    <a:pt x="56894" y="57023"/>
                  </a:cubicBezTo>
                  <a:cubicBezTo>
                    <a:pt x="62372" y="51461"/>
                    <a:pt x="70543" y="49607"/>
                    <a:pt x="77972" y="52110"/>
                  </a:cubicBezTo>
                  <a:close/>
                  <a:moveTo>
                    <a:pt x="473310" y="0"/>
                  </a:moveTo>
                  <a:cubicBezTo>
                    <a:pt x="479624" y="0"/>
                    <a:pt x="485752" y="2503"/>
                    <a:pt x="490302" y="7045"/>
                  </a:cubicBezTo>
                  <a:lnTo>
                    <a:pt x="602283" y="118943"/>
                  </a:lnTo>
                  <a:cubicBezTo>
                    <a:pt x="611661" y="128307"/>
                    <a:pt x="611661" y="143511"/>
                    <a:pt x="602283" y="152874"/>
                  </a:cubicBezTo>
                  <a:lnTo>
                    <a:pt x="472196" y="282756"/>
                  </a:lnTo>
                  <a:lnTo>
                    <a:pt x="326788" y="136279"/>
                  </a:lnTo>
                  <a:lnTo>
                    <a:pt x="355108" y="108096"/>
                  </a:lnTo>
                  <a:lnTo>
                    <a:pt x="415648" y="168541"/>
                  </a:lnTo>
                  <a:cubicBezTo>
                    <a:pt x="417598" y="170488"/>
                    <a:pt x="420291" y="171508"/>
                    <a:pt x="422891" y="171508"/>
                  </a:cubicBezTo>
                  <a:cubicBezTo>
                    <a:pt x="425491" y="171508"/>
                    <a:pt x="428091" y="170488"/>
                    <a:pt x="430041" y="168541"/>
                  </a:cubicBezTo>
                  <a:cubicBezTo>
                    <a:pt x="434033" y="164555"/>
                    <a:pt x="434033" y="158065"/>
                    <a:pt x="430041" y="154079"/>
                  </a:cubicBezTo>
                  <a:lnTo>
                    <a:pt x="369500" y="93634"/>
                  </a:lnTo>
                  <a:lnTo>
                    <a:pt x="397821" y="65359"/>
                  </a:lnTo>
                  <a:lnTo>
                    <a:pt x="429855" y="97342"/>
                  </a:lnTo>
                  <a:cubicBezTo>
                    <a:pt x="431898" y="99382"/>
                    <a:pt x="434498" y="100402"/>
                    <a:pt x="437097" y="100402"/>
                  </a:cubicBezTo>
                  <a:cubicBezTo>
                    <a:pt x="439697" y="100402"/>
                    <a:pt x="442297" y="99382"/>
                    <a:pt x="444340" y="97342"/>
                  </a:cubicBezTo>
                  <a:cubicBezTo>
                    <a:pt x="448333" y="93356"/>
                    <a:pt x="448333" y="86959"/>
                    <a:pt x="444340" y="82973"/>
                  </a:cubicBezTo>
                  <a:lnTo>
                    <a:pt x="412306" y="50989"/>
                  </a:lnTo>
                  <a:lnTo>
                    <a:pt x="440626" y="22713"/>
                  </a:lnTo>
                  <a:lnTo>
                    <a:pt x="472660" y="54697"/>
                  </a:lnTo>
                  <a:cubicBezTo>
                    <a:pt x="474610" y="56737"/>
                    <a:pt x="477210" y="57664"/>
                    <a:pt x="479903" y="57664"/>
                  </a:cubicBezTo>
                  <a:cubicBezTo>
                    <a:pt x="482503" y="57664"/>
                    <a:pt x="485102" y="56737"/>
                    <a:pt x="487052" y="54697"/>
                  </a:cubicBezTo>
                  <a:cubicBezTo>
                    <a:pt x="491045" y="50711"/>
                    <a:pt x="491045" y="44221"/>
                    <a:pt x="487052" y="40235"/>
                  </a:cubicBezTo>
                  <a:lnTo>
                    <a:pt x="455018" y="8251"/>
                  </a:lnTo>
                  <a:lnTo>
                    <a:pt x="456225" y="7045"/>
                  </a:lnTo>
                  <a:cubicBezTo>
                    <a:pt x="460775" y="2503"/>
                    <a:pt x="466903" y="0"/>
                    <a:pt x="47331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latin typeface="+mn-ea"/>
                <a:cs typeface="+mn-ea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991760" y="3163489"/>
            <a:ext cx="5028040" cy="2426533"/>
            <a:chOff x="1523782" y="3338152"/>
            <a:chExt cx="2890248" cy="2426533"/>
          </a:xfrm>
        </p:grpSpPr>
        <p:sp>
          <p:nvSpPr>
            <p:cNvPr id="10" name="矩形 9"/>
            <p:cNvSpPr/>
            <p:nvPr/>
          </p:nvSpPr>
          <p:spPr>
            <a:xfrm>
              <a:off x="1737386" y="3903500"/>
              <a:ext cx="2463040" cy="1861185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向领导学，学习他们高瞻远瞩、睿智清醒的政治思维；向老同志学，学习他们踏实苦干、无怨无悔的干事作风；向身边的同事学，学习他们精益求精，勇于创新的工作态度。向书本学，夯实自己的理论基础；向网络学，学习创新思想，提高业务技</a:t>
              </a: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能</a:t>
              </a:r>
              <a:r>
                <a:rPr lang="zh-CN" altLang="zh-CN" sz="16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zh-CN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1523782" y="3338152"/>
              <a:ext cx="2890248" cy="565348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800" b="1">
                  <a:solidFill>
                    <a:srgbClr val="03378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lt"/>
                </a:rPr>
                <a:t>01</a:t>
              </a:r>
              <a:r>
                <a:rPr lang="en-US" altLang="zh-CN" sz="2800" b="1" smtClean="0">
                  <a:solidFill>
                    <a:srgbClr val="03378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lt"/>
                </a:rPr>
                <a:t>.</a:t>
              </a:r>
              <a:r>
                <a:rPr lang="zh-CN" altLang="zh-CN" sz="2800" b="1">
                  <a:solidFill>
                    <a:srgbClr val="03378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拓学习渠道</a:t>
              </a:r>
              <a:endParaRPr lang="zh-CN" altLang="en-US" sz="2800" b="1">
                <a:solidFill>
                  <a:srgbClr val="03378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endParaRPr>
            </a:p>
          </p:txBody>
        </p:sp>
      </p:grpSp>
      <p:grpSp>
        <p:nvGrpSpPr>
          <p:cNvPr id="36" name="Group 32"/>
          <p:cNvGrpSpPr/>
          <p:nvPr/>
        </p:nvGrpSpPr>
        <p:grpSpPr>
          <a:xfrm>
            <a:off x="2977948" y="1854006"/>
            <a:ext cx="1055664" cy="1055664"/>
            <a:chOff x="6062870" y="2325572"/>
            <a:chExt cx="617048" cy="617048"/>
          </a:xfrm>
        </p:grpSpPr>
        <p:sp>
          <p:nvSpPr>
            <p:cNvPr id="37" name="椭圆 36"/>
            <p:cNvSpPr/>
            <p:nvPr/>
          </p:nvSpPr>
          <p:spPr>
            <a:xfrm>
              <a:off x="6062870" y="2325572"/>
              <a:ext cx="617048" cy="617048"/>
            </a:xfrm>
            <a:prstGeom prst="ellipse">
              <a:avLst/>
            </a:prstGeom>
            <a:solidFill>
              <a:srgbClr val="149CEA"/>
            </a:solidFill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latin typeface="+mn-ea"/>
                <a:cs typeface="+mn-ea"/>
              </a:endParaRPr>
            </a:p>
          </p:txBody>
        </p:sp>
        <p:sp>
          <p:nvSpPr>
            <p:cNvPr id="38" name="earth-grid-with-circular-pattern-around_44859"/>
            <p:cNvSpPr>
              <a:spLocks noChangeAspect="1"/>
            </p:cNvSpPr>
            <p:nvPr/>
          </p:nvSpPr>
          <p:spPr bwMode="auto">
            <a:xfrm>
              <a:off x="6182140" y="2452393"/>
              <a:ext cx="378510" cy="363404"/>
            </a:xfrm>
            <a:custGeom>
              <a:avLst/>
              <a:gdLst>
                <a:gd name="connsiteX0" fmla="*/ 332088 w 578320"/>
                <a:gd name="connsiteY0" fmla="*/ 387618 h 555241"/>
                <a:gd name="connsiteX1" fmla="*/ 346836 w 578320"/>
                <a:gd name="connsiteY1" fmla="*/ 451168 h 555241"/>
                <a:gd name="connsiteX2" fmla="*/ 397530 w 578320"/>
                <a:gd name="connsiteY2" fmla="*/ 502744 h 555241"/>
                <a:gd name="connsiteX3" fmla="*/ 344992 w 578320"/>
                <a:gd name="connsiteY3" fmla="*/ 555241 h 555241"/>
                <a:gd name="connsiteX4" fmla="*/ 293376 w 578320"/>
                <a:gd name="connsiteY4" fmla="*/ 502744 h 555241"/>
                <a:gd name="connsiteX5" fmla="*/ 321028 w 578320"/>
                <a:gd name="connsiteY5" fmla="*/ 456694 h 555241"/>
                <a:gd name="connsiteX6" fmla="*/ 306280 w 578320"/>
                <a:gd name="connsiteY6" fmla="*/ 393144 h 555241"/>
                <a:gd name="connsiteX7" fmla="*/ 332088 w 578320"/>
                <a:gd name="connsiteY7" fmla="*/ 387618 h 555241"/>
                <a:gd name="connsiteX8" fmla="*/ 176153 w 578320"/>
                <a:gd name="connsiteY8" fmla="*/ 300182 h 555241"/>
                <a:gd name="connsiteX9" fmla="*/ 185376 w 578320"/>
                <a:gd name="connsiteY9" fmla="*/ 325037 h 555241"/>
                <a:gd name="connsiteX10" fmla="*/ 104216 w 578320"/>
                <a:gd name="connsiteY10" fmla="*/ 352654 h 555241"/>
                <a:gd name="connsiteX11" fmla="*/ 104216 w 578320"/>
                <a:gd name="connsiteY11" fmla="*/ 355415 h 555241"/>
                <a:gd name="connsiteX12" fmla="*/ 52569 w 578320"/>
                <a:gd name="connsiteY12" fmla="*/ 407887 h 555241"/>
                <a:gd name="connsiteX13" fmla="*/ 0 w 578320"/>
                <a:gd name="connsiteY13" fmla="*/ 355415 h 555241"/>
                <a:gd name="connsiteX14" fmla="*/ 52569 w 578320"/>
                <a:gd name="connsiteY14" fmla="*/ 303864 h 555241"/>
                <a:gd name="connsiteX15" fmla="*/ 95916 w 578320"/>
                <a:gd name="connsiteY15" fmla="*/ 327799 h 555241"/>
                <a:gd name="connsiteX16" fmla="*/ 525741 w 578320"/>
                <a:gd name="connsiteY16" fmla="*/ 245886 h 555241"/>
                <a:gd name="connsiteX17" fmla="*/ 578320 w 578320"/>
                <a:gd name="connsiteY17" fmla="*/ 298349 h 555241"/>
                <a:gd name="connsiteX18" fmla="*/ 525741 w 578320"/>
                <a:gd name="connsiteY18" fmla="*/ 349892 h 555241"/>
                <a:gd name="connsiteX19" fmla="*/ 474085 w 578320"/>
                <a:gd name="connsiteY19" fmla="*/ 306633 h 555241"/>
                <a:gd name="connsiteX20" fmla="*/ 409514 w 578320"/>
                <a:gd name="connsiteY20" fmla="*/ 300190 h 555241"/>
                <a:gd name="connsiteX21" fmla="*/ 412281 w 578320"/>
                <a:gd name="connsiteY21" fmla="*/ 275339 h 555241"/>
                <a:gd name="connsiteX22" fmla="*/ 412281 w 578320"/>
                <a:gd name="connsiteY22" fmla="*/ 273498 h 555241"/>
                <a:gd name="connsiteX23" fmla="*/ 476852 w 578320"/>
                <a:gd name="connsiteY23" fmla="*/ 279941 h 555241"/>
                <a:gd name="connsiteX24" fmla="*/ 525741 w 578320"/>
                <a:gd name="connsiteY24" fmla="*/ 245886 h 555241"/>
                <a:gd name="connsiteX25" fmla="*/ 293302 w 578320"/>
                <a:gd name="connsiteY25" fmla="*/ 185968 h 555241"/>
                <a:gd name="connsiteX26" fmla="*/ 382735 w 578320"/>
                <a:gd name="connsiteY26" fmla="*/ 275328 h 555241"/>
                <a:gd name="connsiteX27" fmla="*/ 293302 w 578320"/>
                <a:gd name="connsiteY27" fmla="*/ 364688 h 555241"/>
                <a:gd name="connsiteX28" fmla="*/ 203869 w 578320"/>
                <a:gd name="connsiteY28" fmla="*/ 275328 h 555241"/>
                <a:gd name="connsiteX29" fmla="*/ 293302 w 578320"/>
                <a:gd name="connsiteY29" fmla="*/ 185968 h 555241"/>
                <a:gd name="connsiteX30" fmla="*/ 135586 w 578320"/>
                <a:gd name="connsiteY30" fmla="*/ 74565 h 555241"/>
                <a:gd name="connsiteX31" fmla="*/ 187252 w 578320"/>
                <a:gd name="connsiteY31" fmla="*/ 126109 h 555241"/>
                <a:gd name="connsiteX32" fmla="*/ 180794 w 578320"/>
                <a:gd name="connsiteY32" fmla="*/ 150961 h 555241"/>
                <a:gd name="connsiteX33" fmla="*/ 215853 w 578320"/>
                <a:gd name="connsiteY33" fmla="*/ 185017 h 555241"/>
                <a:gd name="connsiteX34" fmla="*/ 198323 w 578320"/>
                <a:gd name="connsiteY34" fmla="*/ 203426 h 555241"/>
                <a:gd name="connsiteX35" fmla="*/ 163264 w 578320"/>
                <a:gd name="connsiteY35" fmla="*/ 170290 h 555241"/>
                <a:gd name="connsiteX36" fmla="*/ 135586 w 578320"/>
                <a:gd name="connsiteY36" fmla="*/ 178574 h 555241"/>
                <a:gd name="connsiteX37" fmla="*/ 82998 w 578320"/>
                <a:gd name="connsiteY37" fmla="*/ 126109 h 555241"/>
                <a:gd name="connsiteX38" fmla="*/ 135586 w 578320"/>
                <a:gd name="connsiteY38" fmla="*/ 74565 h 555241"/>
                <a:gd name="connsiteX39" fmla="*/ 426183 w 578320"/>
                <a:gd name="connsiteY39" fmla="*/ 0 h 555241"/>
                <a:gd name="connsiteX40" fmla="*/ 477865 w 578320"/>
                <a:gd name="connsiteY40" fmla="*/ 52490 h 555241"/>
                <a:gd name="connsiteX41" fmla="*/ 426183 w 578320"/>
                <a:gd name="connsiteY41" fmla="*/ 104060 h 555241"/>
                <a:gd name="connsiteX42" fmla="*/ 411416 w 578320"/>
                <a:gd name="connsiteY42" fmla="*/ 102218 h 555241"/>
                <a:gd name="connsiteX43" fmla="*/ 364349 w 578320"/>
                <a:gd name="connsiteY43" fmla="*/ 180494 h 555241"/>
                <a:gd name="connsiteX44" fmla="*/ 342199 w 578320"/>
                <a:gd name="connsiteY44" fmla="*/ 166681 h 555241"/>
                <a:gd name="connsiteX45" fmla="*/ 389267 w 578320"/>
                <a:gd name="connsiteY45" fmla="*/ 88405 h 555241"/>
                <a:gd name="connsiteX46" fmla="*/ 373578 w 578320"/>
                <a:gd name="connsiteY46" fmla="*/ 52490 h 555241"/>
                <a:gd name="connsiteX47" fmla="*/ 426183 w 578320"/>
                <a:gd name="connsiteY47" fmla="*/ 0 h 55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8320" h="555241">
                  <a:moveTo>
                    <a:pt x="332088" y="387618"/>
                  </a:moveTo>
                  <a:lnTo>
                    <a:pt x="346836" y="451168"/>
                  </a:lnTo>
                  <a:cubicBezTo>
                    <a:pt x="374487" y="452089"/>
                    <a:pt x="397530" y="474193"/>
                    <a:pt x="397530" y="502744"/>
                  </a:cubicBezTo>
                  <a:cubicBezTo>
                    <a:pt x="397530" y="531295"/>
                    <a:pt x="373565" y="555241"/>
                    <a:pt x="344992" y="555241"/>
                  </a:cubicBezTo>
                  <a:cubicBezTo>
                    <a:pt x="316419" y="555241"/>
                    <a:pt x="293376" y="531295"/>
                    <a:pt x="293376" y="502744"/>
                  </a:cubicBezTo>
                  <a:cubicBezTo>
                    <a:pt x="293376" y="482482"/>
                    <a:pt x="304437" y="465904"/>
                    <a:pt x="321028" y="456694"/>
                  </a:cubicBezTo>
                  <a:lnTo>
                    <a:pt x="306280" y="393144"/>
                  </a:lnTo>
                  <a:cubicBezTo>
                    <a:pt x="315497" y="392223"/>
                    <a:pt x="323793" y="390381"/>
                    <a:pt x="332088" y="387618"/>
                  </a:cubicBezTo>
                  <a:close/>
                  <a:moveTo>
                    <a:pt x="176153" y="300182"/>
                  </a:moveTo>
                  <a:cubicBezTo>
                    <a:pt x="177998" y="309388"/>
                    <a:pt x="181687" y="317673"/>
                    <a:pt x="185376" y="325037"/>
                  </a:cubicBezTo>
                  <a:lnTo>
                    <a:pt x="104216" y="352654"/>
                  </a:lnTo>
                  <a:cubicBezTo>
                    <a:pt x="104216" y="353574"/>
                    <a:pt x="104216" y="354495"/>
                    <a:pt x="104216" y="355415"/>
                  </a:cubicBezTo>
                  <a:cubicBezTo>
                    <a:pt x="104216" y="384873"/>
                    <a:pt x="81160" y="407887"/>
                    <a:pt x="52569" y="407887"/>
                  </a:cubicBezTo>
                  <a:cubicBezTo>
                    <a:pt x="23057" y="407887"/>
                    <a:pt x="0" y="384873"/>
                    <a:pt x="0" y="355415"/>
                  </a:cubicBezTo>
                  <a:cubicBezTo>
                    <a:pt x="0" y="326878"/>
                    <a:pt x="23057" y="303864"/>
                    <a:pt x="52569" y="303864"/>
                  </a:cubicBezTo>
                  <a:cubicBezTo>
                    <a:pt x="70092" y="303864"/>
                    <a:pt x="86693" y="313070"/>
                    <a:pt x="95916" y="327799"/>
                  </a:cubicBezTo>
                  <a:close/>
                  <a:moveTo>
                    <a:pt x="525741" y="245886"/>
                  </a:moveTo>
                  <a:cubicBezTo>
                    <a:pt x="554337" y="245886"/>
                    <a:pt x="578320" y="269817"/>
                    <a:pt x="578320" y="298349"/>
                  </a:cubicBezTo>
                  <a:cubicBezTo>
                    <a:pt x="578320" y="326882"/>
                    <a:pt x="554337" y="349892"/>
                    <a:pt x="525741" y="349892"/>
                  </a:cubicBezTo>
                  <a:cubicBezTo>
                    <a:pt x="499913" y="349892"/>
                    <a:pt x="478697" y="331484"/>
                    <a:pt x="474085" y="306633"/>
                  </a:cubicBezTo>
                  <a:lnTo>
                    <a:pt x="409514" y="300190"/>
                  </a:lnTo>
                  <a:cubicBezTo>
                    <a:pt x="411359" y="291906"/>
                    <a:pt x="412281" y="283623"/>
                    <a:pt x="412281" y="275339"/>
                  </a:cubicBezTo>
                  <a:cubicBezTo>
                    <a:pt x="412281" y="274419"/>
                    <a:pt x="412281" y="274419"/>
                    <a:pt x="412281" y="273498"/>
                  </a:cubicBezTo>
                  <a:lnTo>
                    <a:pt x="476852" y="279941"/>
                  </a:lnTo>
                  <a:cubicBezTo>
                    <a:pt x="484232" y="260613"/>
                    <a:pt x="503603" y="245886"/>
                    <a:pt x="525741" y="245886"/>
                  </a:cubicBezTo>
                  <a:close/>
                  <a:moveTo>
                    <a:pt x="293302" y="185968"/>
                  </a:moveTo>
                  <a:cubicBezTo>
                    <a:pt x="342694" y="185968"/>
                    <a:pt x="382735" y="225976"/>
                    <a:pt x="382735" y="275328"/>
                  </a:cubicBezTo>
                  <a:cubicBezTo>
                    <a:pt x="382735" y="324680"/>
                    <a:pt x="342694" y="364688"/>
                    <a:pt x="293302" y="364688"/>
                  </a:cubicBezTo>
                  <a:cubicBezTo>
                    <a:pt x="243910" y="364688"/>
                    <a:pt x="203869" y="324680"/>
                    <a:pt x="203869" y="275328"/>
                  </a:cubicBezTo>
                  <a:cubicBezTo>
                    <a:pt x="203869" y="225976"/>
                    <a:pt x="243910" y="185968"/>
                    <a:pt x="293302" y="185968"/>
                  </a:cubicBezTo>
                  <a:close/>
                  <a:moveTo>
                    <a:pt x="135586" y="74565"/>
                  </a:moveTo>
                  <a:cubicBezTo>
                    <a:pt x="164187" y="74565"/>
                    <a:pt x="187252" y="97576"/>
                    <a:pt x="187252" y="126109"/>
                  </a:cubicBezTo>
                  <a:cubicBezTo>
                    <a:pt x="187252" y="135314"/>
                    <a:pt x="185407" y="143598"/>
                    <a:pt x="180794" y="150961"/>
                  </a:cubicBezTo>
                  <a:lnTo>
                    <a:pt x="215853" y="185017"/>
                  </a:lnTo>
                  <a:cubicBezTo>
                    <a:pt x="209395" y="190540"/>
                    <a:pt x="202936" y="196983"/>
                    <a:pt x="198323" y="203426"/>
                  </a:cubicBezTo>
                  <a:lnTo>
                    <a:pt x="163264" y="170290"/>
                  </a:lnTo>
                  <a:cubicBezTo>
                    <a:pt x="154961" y="175813"/>
                    <a:pt x="145735" y="178574"/>
                    <a:pt x="135586" y="178574"/>
                  </a:cubicBezTo>
                  <a:cubicBezTo>
                    <a:pt x="106986" y="178574"/>
                    <a:pt x="82998" y="155563"/>
                    <a:pt x="82998" y="126109"/>
                  </a:cubicBezTo>
                  <a:cubicBezTo>
                    <a:pt x="82998" y="97576"/>
                    <a:pt x="106986" y="74565"/>
                    <a:pt x="135586" y="74565"/>
                  </a:cubicBezTo>
                  <a:close/>
                  <a:moveTo>
                    <a:pt x="426183" y="0"/>
                  </a:moveTo>
                  <a:cubicBezTo>
                    <a:pt x="454793" y="0"/>
                    <a:pt x="477865" y="23022"/>
                    <a:pt x="477865" y="52490"/>
                  </a:cubicBezTo>
                  <a:cubicBezTo>
                    <a:pt x="477865" y="81038"/>
                    <a:pt x="454793" y="104060"/>
                    <a:pt x="426183" y="104060"/>
                  </a:cubicBezTo>
                  <a:cubicBezTo>
                    <a:pt x="420645" y="104060"/>
                    <a:pt x="416031" y="103139"/>
                    <a:pt x="411416" y="102218"/>
                  </a:cubicBezTo>
                  <a:lnTo>
                    <a:pt x="364349" y="180494"/>
                  </a:lnTo>
                  <a:cubicBezTo>
                    <a:pt x="357888" y="174969"/>
                    <a:pt x="350505" y="170364"/>
                    <a:pt x="342199" y="166681"/>
                  </a:cubicBezTo>
                  <a:lnTo>
                    <a:pt x="389267" y="88405"/>
                  </a:lnTo>
                  <a:cubicBezTo>
                    <a:pt x="379115" y="79196"/>
                    <a:pt x="373578" y="66304"/>
                    <a:pt x="373578" y="52490"/>
                  </a:cubicBezTo>
                  <a:cubicBezTo>
                    <a:pt x="373578" y="23022"/>
                    <a:pt x="396650" y="0"/>
                    <a:pt x="426183" y="0"/>
                  </a:cubicBezTo>
                  <a:close/>
                </a:path>
              </a:pathLst>
            </a:custGeom>
            <a:solidFill>
              <a:schemeClr val="bg1"/>
            </a:solidFill>
            <a:ln w="254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latin typeface="+mn-ea"/>
                <a:cs typeface="+mn-ea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991842" y="3163489"/>
            <a:ext cx="5355500" cy="2430473"/>
            <a:chOff x="4556760" y="3338152"/>
            <a:chExt cx="3078480" cy="2430473"/>
          </a:xfrm>
        </p:grpSpPr>
        <p:sp>
          <p:nvSpPr>
            <p:cNvPr id="16" name="矩形 15"/>
            <p:cNvSpPr/>
            <p:nvPr/>
          </p:nvSpPr>
          <p:spPr>
            <a:xfrm>
              <a:off x="4786436" y="3903499"/>
              <a:ext cx="2619129" cy="1865126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了学习的目标和决心，贵在持之以恒，在学习的过程中，要养成良好的学习习惯，集中精力，将学习坚持到底，同时学习之余要找出问题和困惑之处，并能找到解决办法，不唯书，不盲从，不轻信，多思考，将学习的内容转化为自己的知识，丰富自己的内在，促进自己的成</a:t>
              </a:r>
              <a:r>
                <a:rPr lang="zh-CN" altLang="zh-CN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长</a:t>
              </a:r>
              <a:r>
                <a:rPr lang="zh-CN" altLang="zh-CN" sz="16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4556760" y="3338152"/>
              <a:ext cx="3078480" cy="565348"/>
            </a:xfrm>
            <a:prstGeom prst="rect">
              <a:avLst/>
            </a:prstGeom>
          </p:spPr>
          <p:txBody>
            <a:bodyPr wrap="square" lIns="0" tIns="45720" rIns="0" bIns="4572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800" b="1">
                  <a:solidFill>
                    <a:srgbClr val="03378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lt"/>
                </a:rPr>
                <a:t>02</a:t>
              </a:r>
              <a:r>
                <a:rPr lang="en-US" altLang="zh-CN" sz="2800" b="1" smtClean="0">
                  <a:solidFill>
                    <a:srgbClr val="03378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lt"/>
                </a:rPr>
                <a:t>.</a:t>
              </a:r>
              <a:r>
                <a:rPr lang="zh-CN" altLang="zh-CN" sz="2800" b="1">
                  <a:solidFill>
                    <a:srgbClr val="03378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持之以恒地学</a:t>
              </a:r>
              <a:endParaRPr lang="zh-CN" altLang="en-US" sz="2800" b="1">
                <a:solidFill>
                  <a:srgbClr val="03378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A6S0wzOvQ8a50SA42PUNR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jgqopkz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alpha val="32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4</Words>
  <Application>WPS 演示</Application>
  <PresentationFormat>宽屏</PresentationFormat>
  <Paragraphs>123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14</vt:i4>
      </vt:variant>
    </vt:vector>
  </HeadingPairs>
  <TitlesOfParts>
    <vt:vector size="29" baseType="lpstr">
      <vt:lpstr>Arial</vt:lpstr>
      <vt:lpstr>宋体</vt:lpstr>
      <vt:lpstr>Wingdings</vt:lpstr>
      <vt:lpstr>思源黑体</vt:lpstr>
      <vt:lpstr>Times New Roman</vt:lpstr>
      <vt:lpstr>微软雅黑</vt:lpstr>
      <vt:lpstr>Impact</vt:lpstr>
      <vt:lpstr>思源黑体 CN Regular</vt:lpstr>
      <vt:lpstr>黑体</vt:lpstr>
      <vt:lpstr>Arial Unicode MS</vt:lpstr>
      <vt:lpstr>等线</vt:lpstr>
      <vt:lpstr>Office 主题​​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SUS</dc:creator>
  <cp:lastModifiedBy>曹文文</cp:lastModifiedBy>
  <cp:revision>108</cp:revision>
  <dcterms:created xsi:type="dcterms:W3CDTF">2019-10-29T11:32:00Z</dcterms:created>
  <dcterms:modified xsi:type="dcterms:W3CDTF">2019-10-31T06:4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145</vt:lpwstr>
  </property>
</Properties>
</file>